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59" r:id="rId2"/>
    <p:sldMasterId id="2147483671" r:id="rId3"/>
  </p:sldMasterIdLst>
  <p:notesMasterIdLst>
    <p:notesMasterId r:id="rId21"/>
  </p:notesMasterIdLst>
  <p:handoutMasterIdLst>
    <p:handoutMasterId r:id="rId22"/>
  </p:handoutMasterIdLst>
  <p:sldIdLst>
    <p:sldId id="256" r:id="rId4"/>
    <p:sldId id="258" r:id="rId5"/>
    <p:sldId id="794" r:id="rId6"/>
    <p:sldId id="262" r:id="rId7"/>
    <p:sldId id="795" r:id="rId8"/>
    <p:sldId id="796" r:id="rId9"/>
    <p:sldId id="797" r:id="rId10"/>
    <p:sldId id="260" r:id="rId11"/>
    <p:sldId id="798" r:id="rId12"/>
    <p:sldId id="799" r:id="rId13"/>
    <p:sldId id="800" r:id="rId14"/>
    <p:sldId id="805" r:id="rId15"/>
    <p:sldId id="801" r:id="rId16"/>
    <p:sldId id="802" r:id="rId17"/>
    <p:sldId id="803" r:id="rId18"/>
    <p:sldId id="804" r:id="rId19"/>
    <p:sldId id="806" r:id="rId20"/>
  </p:sldIdLst>
  <p:sldSz cx="9144000" cy="6858000" type="screen4x3"/>
  <p:notesSz cx="6858000" cy="9144000"/>
  <p:defaultTextStyle>
    <a:defPPr>
      <a:defRPr lang="sv-S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25">
          <p15:clr>
            <a:srgbClr val="A4A3A4"/>
          </p15:clr>
        </p15:guide>
        <p15:guide id="2" pos="554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0A5"/>
    <a:srgbClr val="0053A5"/>
    <a:srgbClr val="005BA1"/>
    <a:srgbClr val="0066B3"/>
    <a:srgbClr val="0047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24" autoAdjust="0"/>
    <p:restoredTop sz="94595" autoAdjust="0"/>
  </p:normalViewPr>
  <p:slideViewPr>
    <p:cSldViewPr snapToGrid="0" snapToObjects="1">
      <p:cViewPr varScale="1">
        <p:scale>
          <a:sx n="115" d="100"/>
          <a:sy n="115" d="100"/>
        </p:scale>
        <p:origin x="1470" y="108"/>
      </p:cViewPr>
      <p:guideLst>
        <p:guide orient="horz" pos="4125"/>
        <p:guide pos="554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C565C7-E7D9-2945-B8BD-8088C92F08A6}" type="datetimeFigureOut">
              <a:rPr lang="sv-SE" smtClean="0"/>
              <a:t>2023-04-27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47AF89-486C-6B48-BC25-2234EDAED7E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0942647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9E373B-E9E0-834F-8AE0-56CDEFA1F367}" type="datetimeFigureOut">
              <a:rPr lang="sv-SE" smtClean="0"/>
              <a:t>2023-04-27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9B1FA7-9B20-E148-866A-4BB8AEA063A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4097634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Certifieringen baseras på</a:t>
            </a:r>
            <a:r>
              <a:rPr lang="sv-SE" baseline="0" dirty="0"/>
              <a:t> nationella riktlinjer för demens</a:t>
            </a:r>
          </a:p>
          <a:p>
            <a:pPr marL="228600" indent="-228600">
              <a:buFont typeface="+mj-lt"/>
              <a:buAutoNum type="arabicPeriod"/>
            </a:pPr>
            <a:r>
              <a:rPr lang="sv-SE" baseline="0" dirty="0"/>
              <a:t>Utbildning personal tex demens ABC, +, BPSD, Nollvisionen</a:t>
            </a:r>
          </a:p>
          <a:p>
            <a:pPr marL="228600" indent="-228600">
              <a:buFont typeface="+mj-lt"/>
              <a:buAutoNum type="arabicPeriod"/>
            </a:pPr>
            <a:r>
              <a:rPr lang="sv-SE" baseline="0" dirty="0"/>
              <a:t>Personcentrerad vård tex levnadsberättelse, rutin för </a:t>
            </a:r>
            <a:r>
              <a:rPr lang="sv-SE" baseline="0" dirty="0" err="1"/>
              <a:t>inflytt</a:t>
            </a:r>
            <a:r>
              <a:rPr lang="sv-SE" baseline="0" dirty="0"/>
              <a:t> på </a:t>
            </a:r>
            <a:r>
              <a:rPr lang="sv-SE" baseline="0" dirty="0" err="1"/>
              <a:t>säbo</a:t>
            </a:r>
            <a:endParaRPr lang="sv-SE" baseline="0" dirty="0"/>
          </a:p>
          <a:p>
            <a:pPr marL="228600" indent="-228600">
              <a:buFont typeface="+mj-lt"/>
              <a:buAutoNum type="arabicPeriod"/>
            </a:pPr>
            <a:r>
              <a:rPr lang="sv-SE" baseline="0" dirty="0"/>
              <a:t>Kvalitetsregister </a:t>
            </a:r>
            <a:r>
              <a:rPr lang="sv-SE" baseline="0" dirty="0" err="1"/>
              <a:t>SveDem</a:t>
            </a:r>
            <a:r>
              <a:rPr lang="sv-SE" baseline="0" dirty="0"/>
              <a:t>, BPSD</a:t>
            </a:r>
          </a:p>
          <a:p>
            <a:pPr marL="228600" indent="-228600">
              <a:buFont typeface="+mj-lt"/>
              <a:buAutoNum type="arabicPeriod"/>
            </a:pP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CEA155-BB71-4548-BB86-4FDC922E185F}" type="slidenum">
              <a:rPr lang="sv-SE" smtClean="0"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427882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Start 1 januari 2023</a:t>
            </a:r>
          </a:p>
          <a:p>
            <a:r>
              <a:rPr lang="sv-SE" dirty="0"/>
              <a:t>Första året görs en </a:t>
            </a:r>
            <a:r>
              <a:rPr lang="sv-SE" dirty="0" err="1"/>
              <a:t>baseline</a:t>
            </a:r>
            <a:endParaRPr lang="sv-SE" dirty="0"/>
          </a:p>
          <a:p>
            <a:r>
              <a:rPr lang="sv-SE" dirty="0"/>
              <a:t>Målnivåer tas fram genom gemensamma</a:t>
            </a:r>
            <a:r>
              <a:rPr lang="sv-SE" baseline="0" dirty="0"/>
              <a:t> diskussioner och med syfte att nå upp till målnivåerna i Nationella riktlinjer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CEA155-BB71-4548-BB86-4FDC922E185F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65372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passad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ktangel 14"/>
          <p:cNvSpPr/>
          <p:nvPr userDrawn="1"/>
        </p:nvSpPr>
        <p:spPr>
          <a:xfrm>
            <a:off x="-7559" y="2321"/>
            <a:ext cx="9151559" cy="6855679"/>
          </a:xfrm>
          <a:prstGeom prst="rect">
            <a:avLst/>
          </a:prstGeom>
          <a:solidFill>
            <a:srgbClr val="0050A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3" name="Platshållare för text 12"/>
          <p:cNvSpPr>
            <a:spLocks noGrp="1"/>
          </p:cNvSpPr>
          <p:nvPr>
            <p:ph type="body" sz="quarter" idx="12" hasCustomPrompt="1"/>
          </p:nvPr>
        </p:nvSpPr>
        <p:spPr>
          <a:xfrm>
            <a:off x="7559" y="1346201"/>
            <a:ext cx="9144000" cy="1763788"/>
          </a:xfrm>
          <a:prstGeom prst="rect">
            <a:avLst/>
          </a:prstGeom>
        </p:spPr>
        <p:txBody>
          <a:bodyPr vert="horz" anchor="b" anchorCtr="0"/>
          <a:lstStyle>
            <a:lvl1pPr marL="90488" indent="0" algn="ctr">
              <a:lnSpc>
                <a:spcPct val="80000"/>
              </a:lnSpc>
              <a:buNone/>
              <a:tabLst>
                <a:tab pos="4305300" algn="l"/>
              </a:tabLst>
              <a:defRPr sz="5000" baseline="0">
                <a:solidFill>
                  <a:srgbClr val="FFFFFF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sv-SE" dirty="0"/>
              <a:t>Dagens rubrik</a:t>
            </a:r>
          </a:p>
        </p:txBody>
      </p:sp>
      <p:sp>
        <p:nvSpPr>
          <p:cNvPr id="7" name="Platshållare för text 1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3251200"/>
            <a:ext cx="9144000" cy="837199"/>
          </a:xfrm>
          <a:prstGeom prst="rect">
            <a:avLst/>
          </a:prstGeom>
        </p:spPr>
        <p:txBody>
          <a:bodyPr vert="horz"/>
          <a:lstStyle>
            <a:lvl1pPr marL="90488" indent="0" algn="ctr">
              <a:lnSpc>
                <a:spcPct val="80000"/>
              </a:lnSpc>
              <a:buNone/>
              <a:defRPr sz="240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sv-SE" dirty="0"/>
              <a:t>Underrubrik</a:t>
            </a:r>
          </a:p>
        </p:txBody>
      </p:sp>
      <p:pic>
        <p:nvPicPr>
          <p:cNvPr id="10" name="Bildobjekt 9" descr="ppt_log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1649" y="6145193"/>
            <a:ext cx="1705356" cy="457200"/>
          </a:xfrm>
          <a:prstGeom prst="rect">
            <a:avLst/>
          </a:prstGeom>
        </p:spPr>
      </p:pic>
      <p:sp>
        <p:nvSpPr>
          <p:cNvPr id="8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5570" y="6281627"/>
            <a:ext cx="5595459" cy="365125"/>
          </a:xfrm>
          <a:prstGeom prst="rect">
            <a:avLst/>
          </a:prstGeom>
        </p:spPr>
        <p:txBody>
          <a:bodyPr/>
          <a:lstStyle>
            <a:lvl1pPr>
              <a:defRPr sz="1500">
                <a:solidFill>
                  <a:schemeClr val="tx2"/>
                </a:solidFill>
              </a:defRPr>
            </a:lvl1pPr>
          </a:lstStyle>
          <a:p>
            <a:r>
              <a:rPr lang="sv-SE"/>
              <a:t>Dagens tema, 2015-01-01, Förnamn Efternamn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197095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1557" y="616842"/>
            <a:ext cx="6858000" cy="609793"/>
          </a:xfrm>
        </p:spPr>
        <p:txBody>
          <a:bodyPr anchor="b">
            <a:normAutofit/>
          </a:bodyPr>
          <a:lstStyle>
            <a:lvl1pPr algn="l">
              <a:defRPr sz="27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741557" y="1397000"/>
            <a:ext cx="6858000" cy="4737100"/>
          </a:xfrm>
        </p:spPr>
        <p:txBody>
          <a:bodyPr/>
          <a:lstStyle/>
          <a:p>
            <a:r>
              <a:rPr lang="en-US"/>
              <a:t>Click icon to add chart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812794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716169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7833361" y="5727127"/>
            <a:ext cx="1666654" cy="851793"/>
            <a:chOff x="10242697" y="5607996"/>
            <a:chExt cx="2222205" cy="851793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1869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61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61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515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7833361" y="5727127"/>
            <a:ext cx="1666654" cy="851793"/>
            <a:chOff x="10242697" y="5607996"/>
            <a:chExt cx="2222205" cy="851793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1869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61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61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515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288224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7682023" y="5607997"/>
            <a:ext cx="1666654" cy="851793"/>
            <a:chOff x="10242697" y="5607996"/>
            <a:chExt cx="2222205" cy="851793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1869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61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61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515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56060" y="1574800"/>
            <a:ext cx="6858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56060" y="761565"/>
            <a:ext cx="6858000" cy="660400"/>
          </a:xfrm>
        </p:spPr>
        <p:txBody>
          <a:bodyPr>
            <a:noAutofit/>
          </a:bodyPr>
          <a:lstStyle>
            <a:lvl1pPr>
              <a:defRPr sz="2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4CE3D53-DEA0-8E4B-B92D-F10674F059E5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7682023" y="5607997"/>
            <a:ext cx="1666654" cy="851793"/>
            <a:chOff x="10242697" y="5607996"/>
            <a:chExt cx="2222205" cy="851793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1869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615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615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515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5257802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1977" y="743842"/>
            <a:ext cx="3095625" cy="805559"/>
          </a:xfrm>
        </p:spPr>
        <p:txBody>
          <a:bodyPr anchor="b">
            <a:noAutofit/>
          </a:bodyPr>
          <a:lstStyle>
            <a:lvl1pPr algn="l">
              <a:defRPr sz="21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71977" y="1727200"/>
            <a:ext cx="3095625" cy="4186238"/>
          </a:xfrm>
        </p:spPr>
        <p:txBody>
          <a:bodyPr/>
          <a:lstStyle>
            <a:lvl1pPr marL="257175" indent="-2571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3943350" cy="66421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875722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61102C-5B75-4CD8-B136-BDAFEA3181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61102C-5B75-4CD8-B136-BDAFEA3181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619DA64-CD2E-4347-BFEC-01DE0B3E850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4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1143000" y="1122363"/>
            <a:ext cx="6858000" cy="2387600"/>
          </a:xfrm>
          <a:noFill/>
        </p:spPr>
        <p:txBody>
          <a:bodyPr anchor="b"/>
          <a:lstStyle>
            <a:lvl1pPr algn="ctr">
              <a:defRPr sz="45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>
                <a:solidFill>
                  <a:srgbClr val="377D7A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sv-SE"/>
              <a:t>Klicka om du vill redigera mall för underrubrikformat</a:t>
            </a:r>
          </a:p>
        </p:txBody>
      </p:sp>
    </p:spTree>
    <p:extLst>
      <p:ext uri="{BB962C8B-B14F-4D97-AF65-F5344CB8AC3E}">
        <p14:creationId xmlns:p14="http://schemas.microsoft.com/office/powerpoint/2010/main" val="14657036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EB5F8694-B435-4CE8-B48B-EB6447FCBA7D}" type="datetime1">
              <a:rPr lang="sv-SE" sz="1350" smtClean="0">
                <a:solidFill>
                  <a:srgbClr val="000000"/>
                </a:solidFill>
              </a:rPr>
              <a:pPr defTabSz="685800">
                <a:defRPr/>
              </a:pPr>
              <a:t>2023-04-27</a:t>
            </a:fld>
            <a:endParaRPr lang="sv-SE" sz="1350">
              <a:solidFill>
                <a:srgbClr val="000000"/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sv-SE" sz="1350">
              <a:solidFill>
                <a:srgbClr val="000000"/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330D80BF-074B-4E55-B5AC-841B5F35CA8C}" type="slidenum">
              <a:rPr lang="sv-SE" sz="1350" smtClean="0">
                <a:solidFill>
                  <a:srgbClr val="000000"/>
                </a:solidFill>
              </a:rPr>
              <a:pPr defTabSz="685800">
                <a:defRPr/>
              </a:pPr>
              <a:t>‹#›</a:t>
            </a:fld>
            <a:endParaRPr lang="sv-SE" sz="135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36734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noFill/>
        </p:spPr>
        <p:txBody>
          <a:bodyPr anchor="b"/>
          <a:lstStyle>
            <a:lvl1pPr algn="ctr">
              <a:defRPr sz="45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>
                <a:solidFill>
                  <a:srgbClr val="377D7A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sv-SE"/>
              <a:t>Klicka om du vill redigera mall för underrubrikformat</a:t>
            </a:r>
          </a:p>
        </p:txBody>
      </p:sp>
    </p:spTree>
    <p:extLst>
      <p:ext uri="{BB962C8B-B14F-4D97-AF65-F5344CB8AC3E}">
        <p14:creationId xmlns:p14="http://schemas.microsoft.com/office/powerpoint/2010/main" val="24504028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28650" y="1825626"/>
            <a:ext cx="7886700" cy="403805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fld id="{0A43D138-C68F-45AD-88AB-B7CE16BB056C}" type="datetime1">
              <a:rPr lang="sv-SE" sz="900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2023-04-27</a:t>
            </a:fld>
            <a:endParaRPr lang="sv-SE" sz="9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 defTabSz="685800">
              <a:defRPr/>
            </a:pPr>
            <a:endParaRPr lang="sv-SE" sz="9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 defTabSz="685800">
              <a:defRPr/>
            </a:pPr>
            <a:fld id="{330D80BF-074B-4E55-B5AC-841B5F35CA8C}" type="slidenum">
              <a:rPr lang="sv-SE" sz="900" smtClean="0">
                <a:solidFill>
                  <a:prstClr val="black">
                    <a:tint val="75000"/>
                  </a:prstClr>
                </a:solidFill>
              </a:rPr>
              <a:pPr algn="r" defTabSz="685800">
                <a:defRPr/>
              </a:pPr>
              <a:t>‹#›</a:t>
            </a:fld>
            <a:endParaRPr lang="sv-SE" sz="90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47568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03845" y="687600"/>
            <a:ext cx="6828537" cy="1296144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8C35CA-C59E-48DE-B67F-774D689585B2}" type="datetime1">
              <a:rPr lang="sv-SE" smtClean="0">
                <a:solidFill>
                  <a:srgbClr val="002B45"/>
                </a:solidFill>
              </a:rPr>
              <a:t>2023-04-27</a:t>
            </a:fld>
            <a:endParaRPr lang="sv-SE">
              <a:solidFill>
                <a:srgbClr val="002B45"/>
              </a:solidFill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srgbClr val="002B45"/>
              </a:solidFill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A1DABF-CD59-47A1-8187-10F3203EF599}" type="slidenum">
              <a:rPr lang="sv-SE" smtClean="0">
                <a:solidFill>
                  <a:srgbClr val="002B45"/>
                </a:solidFill>
              </a:rPr>
              <a:pPr/>
              <a:t>‹#›</a:t>
            </a:fld>
            <a:endParaRPr lang="sv-SE">
              <a:solidFill>
                <a:srgbClr val="002B45"/>
              </a:solidFill>
            </a:endParaRPr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801689" y="2074074"/>
            <a:ext cx="6832600" cy="3438525"/>
          </a:xfr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9" name="Platshållare för text 11"/>
          <p:cNvSpPr>
            <a:spLocks noGrp="1"/>
          </p:cNvSpPr>
          <p:nvPr>
            <p:ph type="body" sz="quarter" idx="15"/>
          </p:nvPr>
        </p:nvSpPr>
        <p:spPr>
          <a:xfrm>
            <a:off x="4324929" y="5612279"/>
            <a:ext cx="3312220" cy="153853"/>
          </a:xfrm>
        </p:spPr>
        <p:txBody>
          <a:bodyPr/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675" b="0" i="1"/>
            </a:lvl1pPr>
            <a:lvl2pPr marL="214313" indent="0">
              <a:buNone/>
              <a:defRPr sz="675"/>
            </a:lvl2pPr>
            <a:lvl3pPr marL="404813" indent="0">
              <a:buNone/>
              <a:defRPr sz="675"/>
            </a:lvl3pPr>
            <a:lvl4pPr marL="542925" indent="0">
              <a:buNone/>
              <a:defRPr sz="675"/>
            </a:lvl4pPr>
            <a:lvl5pPr marL="695325" indent="0">
              <a:buNone/>
              <a:defRPr sz="675"/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0" name="textruta 9"/>
          <p:cNvSpPr txBox="1"/>
          <p:nvPr userDrawn="1"/>
        </p:nvSpPr>
        <p:spPr>
          <a:xfrm>
            <a:off x="-1333501" y="1209675"/>
            <a:ext cx="1257302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v-SE" sz="750" b="1">
                <a:solidFill>
                  <a:srgbClr val="000000"/>
                </a:solidFill>
              </a:rPr>
              <a:t>Rubrik:</a:t>
            </a:r>
          </a:p>
          <a:p>
            <a:pPr algn="r"/>
            <a:r>
              <a:rPr lang="sv-SE" sz="750">
                <a:solidFill>
                  <a:srgbClr val="000000"/>
                </a:solidFill>
              </a:rPr>
              <a:t>Century Gothic,</a:t>
            </a:r>
            <a:br>
              <a:rPr lang="sv-SE" sz="750">
                <a:solidFill>
                  <a:srgbClr val="000000"/>
                </a:solidFill>
              </a:rPr>
            </a:br>
            <a:r>
              <a:rPr lang="sv-SE" sz="750">
                <a:solidFill>
                  <a:srgbClr val="000000"/>
                </a:solidFill>
              </a:rPr>
              <a:t>bold 33pt</a:t>
            </a:r>
          </a:p>
        </p:txBody>
      </p:sp>
    </p:spTree>
    <p:extLst>
      <p:ext uri="{BB962C8B-B14F-4D97-AF65-F5344CB8AC3E}">
        <p14:creationId xmlns:p14="http://schemas.microsoft.com/office/powerpoint/2010/main" val="7040033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E246395-2758-4E88-B38D-4FD973D9E3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2386CA70-73F3-49D8-AFDD-50DEB63741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5E11AFD-0304-4260-8D27-79222B5BC9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1CB04-5467-4CF5-8D47-78D86AF64C6A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3-04-27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8D3CB8A-8095-4126-9596-EB16CEE5E4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75195E6-CA04-495A-AA9E-654E4DAB97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5D74A6-AAF1-4855-A986-98DBA8051A1A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9804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57200" y="2410539"/>
            <a:ext cx="8024849" cy="3600000"/>
          </a:xfrm>
          <a:prstGeom prst="rect">
            <a:avLst/>
          </a:prstGeom>
        </p:spPr>
        <p:txBody>
          <a:bodyPr>
            <a:normAutofit/>
          </a:bodyPr>
          <a:lstStyle>
            <a:lvl1pPr marL="442913" indent="-352425">
              <a:defRPr sz="2200">
                <a:latin typeface="Tahoma"/>
                <a:cs typeface="Tahoma"/>
              </a:defRPr>
            </a:lvl1pPr>
            <a:lvl2pPr>
              <a:defRPr sz="2200">
                <a:latin typeface="Tahoma"/>
                <a:cs typeface="Tahoma"/>
              </a:defRPr>
            </a:lvl2pPr>
            <a:lvl3pPr>
              <a:defRPr sz="2200">
                <a:latin typeface="Tahoma"/>
                <a:cs typeface="Tahoma"/>
              </a:defRPr>
            </a:lvl3pPr>
            <a:lvl4pPr>
              <a:defRPr sz="2200">
                <a:latin typeface="Tahoma"/>
                <a:cs typeface="Tahoma"/>
              </a:defRPr>
            </a:lvl4pPr>
            <a:lvl5pPr>
              <a:defRPr sz="2200">
                <a:latin typeface="Tahoma"/>
                <a:cs typeface="Tahoma"/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8" name="Platshållare för rubrik 1"/>
          <p:cNvSpPr>
            <a:spLocks noGrp="1"/>
          </p:cNvSpPr>
          <p:nvPr>
            <p:ph type="title" hasCustomPrompt="1"/>
          </p:nvPr>
        </p:nvSpPr>
        <p:spPr>
          <a:xfrm>
            <a:off x="1382879" y="524414"/>
            <a:ext cx="7099170" cy="126544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>
              <a:defRPr sz="4000"/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2886591" y="6295963"/>
            <a:ext cx="5595458" cy="365125"/>
          </a:xfrm>
          <a:prstGeom prst="rect">
            <a:avLst/>
          </a:prstGeom>
        </p:spPr>
        <p:txBody>
          <a:bodyPr/>
          <a:lstStyle>
            <a:lvl1pPr>
              <a:defRPr sz="15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sv-SE"/>
              <a:t>Dagens tema, 2015-01-01, Förnamn Efternamn</a:t>
            </a:r>
            <a:endParaRPr lang="sv-SE" dirty="0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54107" y="6301378"/>
            <a:ext cx="500237" cy="365125"/>
          </a:xfrm>
          <a:prstGeom prst="rect">
            <a:avLst/>
          </a:prstGeom>
        </p:spPr>
        <p:txBody>
          <a:bodyPr anchor="b" anchorCtr="0"/>
          <a:lstStyle>
            <a:lvl1pPr algn="r">
              <a:defRPr sz="1500">
                <a:solidFill>
                  <a:srgbClr val="0050A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6D8CCFDF-DFA5-484F-9FF8-7212AEA69C48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9373353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28B8310-DAD1-496E-B05D-30496BA96D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6E336C9-E1C7-498F-A8DA-2F3B2CE0AB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F562AEE3-1F4D-4D55-988B-5F4B7CE17F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1CB04-5467-4CF5-8D47-78D86AF64C6A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3-04-27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80564F0E-CE4E-43A3-842C-CAD1209587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5BBB23E-A076-4D88-92BF-69FA84B51F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5D74A6-AAF1-4855-A986-98DBA8051A1A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0084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837E613-22F9-4EE4-97BF-F7F5179BEC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C5291060-1DD0-497A-8706-97A61268B6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D2E7CA56-DF6B-4BE1-96A4-D0AC8DFC91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1CB04-5467-4CF5-8D47-78D86AF64C6A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3-04-27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8DA744C-ED82-4BF7-9EC1-E8A58DA263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7E4ABC5-6E1F-459E-A113-AEF6AE0F03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5D74A6-AAF1-4855-A986-98DBA8051A1A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28421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EB65947-2DC1-46B1-B651-CB5C474CF9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B7970AFB-234E-4B25-95E6-01BFE5C77AF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6A7D0EF-26FD-4DF0-9554-2C410C0F42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2ED5114E-6646-4454-AA3A-CB039CD9AB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1CB04-5467-4CF5-8D47-78D86AF64C6A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3-04-27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FB21811-CC7C-4269-847F-8612AB30B6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7D0EE2BB-8451-45F7-8B31-8CA314C0A1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5D74A6-AAF1-4855-A986-98DBA8051A1A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38198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16CFE2D-43F3-4AA3-8C1A-1453FFC8F0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791F75C8-DFA7-41C7-81B7-97B2AE45F4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2B7BB639-28CE-4402-8CCC-E16174D863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B987C9B0-E408-480E-BE60-ABAB3243ED7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B918CC42-0EDF-417F-A3C5-7E8BA86AEFB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8BE22B67-A691-4219-8849-54C533AA50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1CB04-5467-4CF5-8D47-78D86AF64C6A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3-04-27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5F1A699C-9909-459A-B5A7-24059E3596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8285471C-35AA-492F-88D9-D256349943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5D74A6-AAF1-4855-A986-98DBA8051A1A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403140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D5D67C9-10D7-4CBB-873E-AF5F822638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01A594B4-E20A-48E0-BCE2-95ABC9D986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1CB04-5467-4CF5-8D47-78D86AF64C6A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3-04-27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B8C5A1F-A61F-4860-B889-C527C9A202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05745E7-EE5E-4E0B-9DF5-7A8B6785D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5D74A6-AAF1-4855-A986-98DBA8051A1A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98032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F32A9E70-113D-4C46-B9D3-275C85E6CF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1CB04-5467-4CF5-8D47-78D86AF64C6A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3-04-27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B423B61A-7220-408A-99BE-A46ED5009B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A1DD4E5D-C8D4-4FAF-844E-017077588A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5D74A6-AAF1-4855-A986-98DBA8051A1A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1491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F55AAF3-62A9-4E99-A28E-D6D47153EA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32201E6-B0D4-4BFD-8070-3BA4A77E78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3249C433-BD69-4808-8881-304E157576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C551A91-734B-420C-80B1-5171D51C92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1CB04-5467-4CF5-8D47-78D86AF64C6A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3-04-27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2B3F0C2-F75D-427B-A857-8894F95861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F0905B47-103B-4633-9CE0-FF0D153A36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5D74A6-AAF1-4855-A986-98DBA8051A1A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9687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DC8FE1B-1BEE-4ED4-BD35-B9B89D9033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7B201AB9-4ADF-4048-8D13-18438282A07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2FF03400-21EF-4BA2-B38A-591A9F7AEB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86023C37-188C-4583-AB19-61FE90077A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1CB04-5467-4CF5-8D47-78D86AF64C6A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3-04-27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D94AB21F-DB7B-4DAA-BCE5-F24A6083AA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5691A025-1682-479F-B65E-ACAA32E1C8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5D74A6-AAF1-4855-A986-98DBA8051A1A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6984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0CD559A-4F1D-46CD-B6F5-FE789271D5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D0F9E3DF-A566-41B9-A5A1-44E2B6DC0E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81535F5F-CCB2-4FA2-B3BD-971AD775DE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1CB04-5467-4CF5-8D47-78D86AF64C6A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3-04-27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FEB321DA-F5C8-41E8-875A-54B9C04AB4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11B7876C-F96B-4DAF-9429-7F9265EBF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5D74A6-AAF1-4855-A986-98DBA8051A1A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9696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>
            <a:extLst>
              <a:ext uri="{FF2B5EF4-FFF2-40B4-BE49-F238E27FC236}">
                <a16:creationId xmlns:a16="http://schemas.microsoft.com/office/drawing/2014/main" id="{4BFF4A50-2536-47AB-A92F-A56A4573A10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B6FA9438-E2C6-4B93-9C73-F9BB9A0945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8DD522CA-9068-47A8-A281-4598AC2FA0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1CB04-5467-4CF5-8D47-78D86AF64C6A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3-04-27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B099265-355B-47B4-9544-1BCDAB7F52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0D4751C-C3F8-4C10-81DA-057BAE01B4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5D74A6-AAF1-4855-A986-98DBA8051A1A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08785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457200" y="2394224"/>
            <a:ext cx="3833849" cy="3600000"/>
          </a:xfrm>
          <a:prstGeom prst="rect">
            <a:avLst/>
          </a:prstGeom>
        </p:spPr>
        <p:txBody>
          <a:bodyPr/>
          <a:lstStyle>
            <a:lvl1pPr marL="442913" indent="-352425">
              <a:defRPr sz="2200">
                <a:latin typeface="Tahoma"/>
                <a:cs typeface="Tahoma"/>
              </a:defRPr>
            </a:lvl1pPr>
            <a:lvl2pPr>
              <a:defRPr sz="2200">
                <a:latin typeface="Tahoma"/>
                <a:cs typeface="Tahoma"/>
              </a:defRPr>
            </a:lvl2pPr>
            <a:lvl3pPr>
              <a:defRPr sz="2200">
                <a:latin typeface="Tahoma"/>
                <a:cs typeface="Tahoma"/>
              </a:defRPr>
            </a:lvl3pPr>
            <a:lvl4pPr>
              <a:defRPr sz="2200">
                <a:latin typeface="Tahoma"/>
                <a:cs typeface="Tahoma"/>
              </a:defRPr>
            </a:lvl4pPr>
            <a:lvl5pPr>
              <a:defRPr sz="2200">
                <a:latin typeface="Tahoma"/>
                <a:cs typeface="Tahoma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648200" y="2394224"/>
            <a:ext cx="3833849" cy="360000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Tahoma"/>
                <a:cs typeface="Tahoma"/>
              </a:defRPr>
            </a:lvl1pPr>
            <a:lvl2pPr>
              <a:defRPr sz="2200">
                <a:latin typeface="Tahoma"/>
                <a:cs typeface="Tahoma"/>
              </a:defRPr>
            </a:lvl2pPr>
            <a:lvl3pPr>
              <a:defRPr sz="2200">
                <a:latin typeface="Tahoma"/>
                <a:cs typeface="Tahoma"/>
              </a:defRPr>
            </a:lvl3pPr>
            <a:lvl4pPr>
              <a:defRPr sz="2200">
                <a:latin typeface="Tahoma"/>
                <a:cs typeface="Tahoma"/>
              </a:defRPr>
            </a:lvl4pPr>
            <a:lvl5pPr>
              <a:defRPr sz="2200">
                <a:latin typeface="Tahoma"/>
                <a:cs typeface="Tahoma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7" name="Platshållare för rubrik 1"/>
          <p:cNvSpPr>
            <a:spLocks noGrp="1"/>
          </p:cNvSpPr>
          <p:nvPr>
            <p:ph type="title" hasCustomPrompt="1"/>
          </p:nvPr>
        </p:nvSpPr>
        <p:spPr>
          <a:xfrm>
            <a:off x="1382879" y="524414"/>
            <a:ext cx="7099170" cy="126544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>
              <a:defRPr sz="4000"/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8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2886591" y="6295963"/>
            <a:ext cx="5595458" cy="365125"/>
          </a:xfrm>
          <a:prstGeom prst="rect">
            <a:avLst/>
          </a:prstGeom>
        </p:spPr>
        <p:txBody>
          <a:bodyPr/>
          <a:lstStyle>
            <a:lvl1pPr>
              <a:defRPr sz="15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sv-SE"/>
              <a:t>Dagens tema, 2015-01-01, Förnamn Efternamn</a:t>
            </a:r>
            <a:endParaRPr lang="sv-SE" dirty="0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54107" y="6301378"/>
            <a:ext cx="500237" cy="365125"/>
          </a:xfrm>
          <a:prstGeom prst="rect">
            <a:avLst/>
          </a:prstGeom>
        </p:spPr>
        <p:txBody>
          <a:bodyPr anchor="b" anchorCtr="0"/>
          <a:lstStyle>
            <a:lvl1pPr algn="r">
              <a:defRPr sz="1500">
                <a:solidFill>
                  <a:srgbClr val="0050A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6D8CCFDF-DFA5-484F-9FF8-7212AEA69C48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703676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/>
          <p:cNvSpPr>
            <a:spLocks noGrp="1"/>
          </p:cNvSpPr>
          <p:nvPr>
            <p:ph type="body" idx="1" hasCustomPrompt="1"/>
          </p:nvPr>
        </p:nvSpPr>
        <p:spPr>
          <a:xfrm>
            <a:off x="457200" y="2415173"/>
            <a:ext cx="3835517" cy="63976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200" b="1">
                <a:latin typeface="Tahoma"/>
                <a:cs typeface="Tahom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dirty="0"/>
              <a:t>Klicka här för att ändra rubrik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57200" y="3054939"/>
            <a:ext cx="3835517" cy="316799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200">
                <a:latin typeface="Tahoma"/>
                <a:cs typeface="Tahoma"/>
              </a:defRPr>
            </a:lvl1pPr>
            <a:lvl2pPr>
              <a:defRPr sz="2200">
                <a:latin typeface="Tahoma"/>
                <a:cs typeface="Tahoma"/>
              </a:defRPr>
            </a:lvl2pPr>
            <a:lvl3pPr>
              <a:defRPr sz="2200">
                <a:latin typeface="Tahoma"/>
                <a:cs typeface="Tahoma"/>
              </a:defRPr>
            </a:lvl3pPr>
            <a:lvl4pPr>
              <a:defRPr sz="2200">
                <a:latin typeface="Tahoma"/>
                <a:cs typeface="Tahoma"/>
              </a:defRPr>
            </a:lvl4pPr>
            <a:lvl5pPr>
              <a:defRPr sz="2200">
                <a:latin typeface="Tahoma"/>
                <a:cs typeface="Tahom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6" y="2415173"/>
            <a:ext cx="3837024" cy="63976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200" b="1" baseline="0">
                <a:latin typeface="Tahoma"/>
                <a:cs typeface="Tahom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dirty="0"/>
              <a:t>Klicka här för att ändra rubrik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4645026" y="3054939"/>
            <a:ext cx="3837024" cy="316799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200">
                <a:latin typeface="Tahoma"/>
                <a:cs typeface="Tahoma"/>
              </a:defRPr>
            </a:lvl1pPr>
            <a:lvl2pPr>
              <a:defRPr sz="2200">
                <a:latin typeface="Tahoma"/>
                <a:cs typeface="Tahoma"/>
              </a:defRPr>
            </a:lvl2pPr>
            <a:lvl3pPr>
              <a:defRPr sz="2200">
                <a:latin typeface="Tahoma"/>
                <a:cs typeface="Tahoma"/>
              </a:defRPr>
            </a:lvl3pPr>
            <a:lvl4pPr>
              <a:defRPr sz="2200">
                <a:latin typeface="Tahoma"/>
                <a:cs typeface="Tahoma"/>
              </a:defRPr>
            </a:lvl4pPr>
            <a:lvl5pPr>
              <a:defRPr sz="2200">
                <a:latin typeface="Tahoma"/>
                <a:cs typeface="Tahom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9" name="Platshållare för rubrik 1"/>
          <p:cNvSpPr>
            <a:spLocks noGrp="1"/>
          </p:cNvSpPr>
          <p:nvPr>
            <p:ph type="title" hasCustomPrompt="1"/>
          </p:nvPr>
        </p:nvSpPr>
        <p:spPr>
          <a:xfrm>
            <a:off x="1382879" y="524414"/>
            <a:ext cx="7099170" cy="126544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>
              <a:defRPr sz="4000"/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2886591" y="6295963"/>
            <a:ext cx="5595458" cy="365125"/>
          </a:xfrm>
          <a:prstGeom prst="rect">
            <a:avLst/>
          </a:prstGeom>
        </p:spPr>
        <p:txBody>
          <a:bodyPr/>
          <a:lstStyle>
            <a:lvl1pPr>
              <a:defRPr sz="15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sv-SE"/>
              <a:t>Dagens tema, 2015-01-01, Förnamn Efternamn</a:t>
            </a:r>
            <a:endParaRPr lang="sv-SE" dirty="0"/>
          </a:p>
        </p:txBody>
      </p:sp>
      <p:sp>
        <p:nvSpPr>
          <p:cNvPr id="8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154107" y="6301378"/>
            <a:ext cx="500237" cy="365125"/>
          </a:xfrm>
          <a:prstGeom prst="rect">
            <a:avLst/>
          </a:prstGeom>
        </p:spPr>
        <p:txBody>
          <a:bodyPr anchor="b" anchorCtr="0"/>
          <a:lstStyle>
            <a:lvl1pPr algn="r">
              <a:defRPr sz="1500">
                <a:solidFill>
                  <a:srgbClr val="0050A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6D8CCFDF-DFA5-484F-9FF8-7212AEA69C48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7588117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rubrik 1"/>
          <p:cNvSpPr>
            <a:spLocks noGrp="1"/>
          </p:cNvSpPr>
          <p:nvPr>
            <p:ph type="title" hasCustomPrompt="1"/>
          </p:nvPr>
        </p:nvSpPr>
        <p:spPr>
          <a:xfrm>
            <a:off x="1382879" y="524414"/>
            <a:ext cx="7099170" cy="126544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>
              <a:defRPr sz="4000"/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6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2886591" y="6295963"/>
            <a:ext cx="5595458" cy="365125"/>
          </a:xfrm>
          <a:prstGeom prst="rect">
            <a:avLst/>
          </a:prstGeom>
        </p:spPr>
        <p:txBody>
          <a:bodyPr/>
          <a:lstStyle>
            <a:lvl1pPr>
              <a:defRPr sz="15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sv-SE"/>
              <a:t>Dagens tema, 2015-01-01, Förnamn Efternamn</a:t>
            </a:r>
            <a:endParaRPr lang="sv-SE" dirty="0"/>
          </a:p>
        </p:txBody>
      </p:sp>
      <p:sp>
        <p:nvSpPr>
          <p:cNvPr id="8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54107" y="6301378"/>
            <a:ext cx="500237" cy="365125"/>
          </a:xfrm>
          <a:prstGeom prst="rect">
            <a:avLst/>
          </a:prstGeom>
        </p:spPr>
        <p:txBody>
          <a:bodyPr anchor="b" anchorCtr="0"/>
          <a:lstStyle>
            <a:lvl1pPr algn="r">
              <a:defRPr sz="1500">
                <a:solidFill>
                  <a:srgbClr val="0050A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6D8CCFDF-DFA5-484F-9FF8-7212AEA69C48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945019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2886591" y="6295963"/>
            <a:ext cx="5595458" cy="365125"/>
          </a:xfrm>
          <a:prstGeom prst="rect">
            <a:avLst/>
          </a:prstGeom>
        </p:spPr>
        <p:txBody>
          <a:bodyPr/>
          <a:lstStyle>
            <a:lvl1pPr>
              <a:defRPr sz="15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sv-SE"/>
              <a:t>Dagens tema, 2015-01-01, Förnamn Efternamn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54107" y="6301378"/>
            <a:ext cx="500237" cy="365125"/>
          </a:xfrm>
          <a:prstGeom prst="rect">
            <a:avLst/>
          </a:prstGeom>
        </p:spPr>
        <p:txBody>
          <a:bodyPr anchor="b" anchorCtr="0"/>
          <a:lstStyle>
            <a:lvl1pPr algn="r">
              <a:defRPr sz="1500">
                <a:solidFill>
                  <a:srgbClr val="0050A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6D8CCFDF-DFA5-484F-9FF8-7212AEA69C48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6628224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1792288" y="689418"/>
            <a:ext cx="5783466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>
                <a:latin typeface="Tahoma"/>
                <a:cs typeface="Tahoma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sv-SE"/>
              <a:t>Klicka på ikonen för att lägga till en bild</a:t>
            </a:r>
            <a:endParaRPr lang="sv-SE" dirty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1792288" y="4905023"/>
            <a:ext cx="5783466" cy="12671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200">
                <a:latin typeface="Tahoma"/>
                <a:cs typeface="Tahom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2886591" y="6295963"/>
            <a:ext cx="5595458" cy="365125"/>
          </a:xfrm>
          <a:prstGeom prst="rect">
            <a:avLst/>
          </a:prstGeom>
        </p:spPr>
        <p:txBody>
          <a:bodyPr/>
          <a:lstStyle>
            <a:lvl1pPr>
              <a:defRPr sz="15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sv-SE"/>
              <a:t>Dagens tema, 2015-01-01, Förnamn Efternamn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54107" y="6301378"/>
            <a:ext cx="500237" cy="365125"/>
          </a:xfrm>
          <a:prstGeom prst="rect">
            <a:avLst/>
          </a:prstGeom>
        </p:spPr>
        <p:txBody>
          <a:bodyPr anchor="b" anchorCtr="0"/>
          <a:lstStyle>
            <a:lvl1pPr algn="r">
              <a:defRPr sz="1500">
                <a:solidFill>
                  <a:srgbClr val="0050A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6D8CCFDF-DFA5-484F-9FF8-7212AEA69C48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6124476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1557" y="616842"/>
            <a:ext cx="6858000" cy="609793"/>
          </a:xfrm>
        </p:spPr>
        <p:txBody>
          <a:bodyPr anchor="b">
            <a:normAutofit/>
          </a:bodyPr>
          <a:lstStyle>
            <a:lvl1pPr algn="l">
              <a:defRPr sz="27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1760" y="1422400"/>
            <a:ext cx="6858000" cy="41862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360845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13206" y="2349500"/>
            <a:ext cx="3868544" cy="1219200"/>
          </a:xfrm>
        </p:spPr>
        <p:txBody>
          <a:bodyPr anchor="b">
            <a:normAutofit/>
          </a:bodyPr>
          <a:lstStyle>
            <a:lvl1pPr algn="ctr">
              <a:defRPr sz="27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4636446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46850" y="6333644"/>
            <a:ext cx="500237" cy="365125"/>
          </a:xfrm>
          <a:prstGeom prst="rect">
            <a:avLst/>
          </a:prstGeom>
        </p:spPr>
        <p:txBody>
          <a:bodyPr anchor="b" anchorCtr="0"/>
          <a:lstStyle>
            <a:lvl1pPr algn="r">
              <a:defRPr sz="1500">
                <a:solidFill>
                  <a:srgbClr val="0050A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6D8CCFDF-DFA5-484F-9FF8-7212AEA69C48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61492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0" r:id="rId2"/>
    <p:sldLayoutId id="2147483652" r:id="rId3"/>
    <p:sldLayoutId id="2147483653" r:id="rId4"/>
    <p:sldLayoutId id="2147483654" r:id="rId5"/>
    <p:sldLayoutId id="2147483655" r:id="rId6"/>
    <p:sldLayoutId id="2147483657" r:id="rId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Georgia"/>
          <a:ea typeface="+mj-ea"/>
          <a:cs typeface="Georgia"/>
        </a:defRPr>
      </a:lvl1pPr>
    </p:titleStyle>
    <p:bodyStyle>
      <a:lvl1pPr marL="442913" indent="-352425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18D3DB2-9356-4838-A1B2-D065D5906C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18D3DB2-9356-4838-A1B2-D065D5906C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365126"/>
            <a:ext cx="705678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 dirty="0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053373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6649656"/>
            <a:ext cx="9144000" cy="2083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7833302" y="5729020"/>
            <a:ext cx="1666654" cy="851793"/>
            <a:chOff x="9377915" y="4859079"/>
            <a:chExt cx="2222205" cy="851793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515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1869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615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6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Rektangel 13">
            <a:extLst>
              <a:ext uri="{FF2B5EF4-FFF2-40B4-BE49-F238E27FC236}">
                <a16:creationId xmlns:a16="http://schemas.microsoft.com/office/drawing/2014/main" id="{3C22E89D-5F8D-6846-BCFB-531E94A40F82}"/>
              </a:ext>
            </a:extLst>
          </p:cNvPr>
          <p:cNvSpPr/>
          <p:nvPr userDrawn="1"/>
        </p:nvSpPr>
        <p:spPr>
          <a:xfrm>
            <a:off x="0" y="6649656"/>
            <a:ext cx="9144000" cy="2083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7833302" y="5729020"/>
            <a:ext cx="1666654" cy="851793"/>
            <a:chOff x="9377915" y="4859079"/>
            <a:chExt cx="2222205" cy="851793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515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685800" rtl="0" eaLnBrk="1" fontAlgn="auto" latinLnBrk="0" hangingPunct="1">
                <a:lnSpc>
                  <a:spcPts val="111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1869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615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61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176917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7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70F40B0A-937B-4285-942F-D345185514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FE7683F2-40A4-43D5-8F17-9D6EB055BC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45FC8B76-2F44-4898-85D5-FA41AD268A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C1CB04-5467-4CF5-8D47-78D86AF64C6A}" type="datetimeFigureOut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2023-04-27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5F1EB50-FC54-4516-B84F-6D4DE601C8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F3E98BBD-EE36-4D5F-BB7A-9645FC8BD8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5D74A6-AAF1-4855-A986-98DBA8051A1A}" type="slidenum">
              <a:rPr lang="sv-S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sv-S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6409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text 1"/>
          <p:cNvSpPr>
            <a:spLocks noGrp="1"/>
          </p:cNvSpPr>
          <p:nvPr>
            <p:ph type="body" sz="quarter" idx="12"/>
          </p:nvPr>
        </p:nvSpPr>
        <p:spPr>
          <a:xfrm>
            <a:off x="7559" y="1346200"/>
            <a:ext cx="9144000" cy="2805669"/>
          </a:xfrm>
        </p:spPr>
        <p:txBody>
          <a:bodyPr/>
          <a:lstStyle/>
          <a:p>
            <a:r>
              <a:rPr lang="sv-SE" dirty="0"/>
              <a:t>Certifiering Utredningsprocessen</a:t>
            </a: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 dirty="0"/>
              <a:t>VPP Demens Planeringsdag 2023-02-03</a:t>
            </a:r>
          </a:p>
        </p:txBody>
      </p:sp>
      <p:pic>
        <p:nvPicPr>
          <p:cNvPr id="5" name="Bildobjekt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782" y="199589"/>
            <a:ext cx="8687553" cy="64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8913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Rak pilkoppling 2">
            <a:extLst>
              <a:ext uri="{FF2B5EF4-FFF2-40B4-BE49-F238E27FC236}">
                <a16:creationId xmlns:a16="http://schemas.microsoft.com/office/drawing/2014/main" id="{7EC47D6B-4670-4464-9502-9DEEDEF5D8B7}"/>
              </a:ext>
            </a:extLst>
          </p:cNvPr>
          <p:cNvCxnSpPr>
            <a:cxnSpLocks/>
          </p:cNvCxnSpPr>
          <p:nvPr/>
        </p:nvCxnSpPr>
        <p:spPr>
          <a:xfrm>
            <a:off x="790769" y="3191069"/>
            <a:ext cx="8068647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ktangel: rundade hörn 4">
            <a:extLst>
              <a:ext uri="{FF2B5EF4-FFF2-40B4-BE49-F238E27FC236}">
                <a16:creationId xmlns:a16="http://schemas.microsoft.com/office/drawing/2014/main" id="{A1FC4891-7210-468E-9AD0-E06F728C62C0}"/>
              </a:ext>
            </a:extLst>
          </p:cNvPr>
          <p:cNvSpPr/>
          <p:nvPr/>
        </p:nvSpPr>
        <p:spPr>
          <a:xfrm>
            <a:off x="790771" y="2219140"/>
            <a:ext cx="902726" cy="914400"/>
          </a:xfrm>
          <a:prstGeom prst="roundRect">
            <a:avLst/>
          </a:prstGeom>
          <a:solidFill>
            <a:schemeClr val="accent1">
              <a:alpha val="43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r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0 daga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ktangel: rundade hörn 5">
            <a:extLst>
              <a:ext uri="{FF2B5EF4-FFF2-40B4-BE49-F238E27FC236}">
                <a16:creationId xmlns:a16="http://schemas.microsoft.com/office/drawing/2014/main" id="{620F83FA-7666-4F16-8D64-29090A90BFAE}"/>
              </a:ext>
            </a:extLst>
          </p:cNvPr>
          <p:cNvSpPr/>
          <p:nvPr/>
        </p:nvSpPr>
        <p:spPr>
          <a:xfrm>
            <a:off x="762768" y="3429100"/>
            <a:ext cx="930728" cy="1891046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från SveDe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7B815482-9348-4436-ABB7-7CCBED402D1F}"/>
              </a:ext>
            </a:extLst>
          </p:cNvPr>
          <p:cNvSpPr txBox="1"/>
          <p:nvPr/>
        </p:nvSpPr>
        <p:spPr>
          <a:xfrm>
            <a:off x="762768" y="763982"/>
            <a:ext cx="1557055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redningsstart beslut om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redning  läkarbesö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1" name="Rak koppling 10">
            <a:extLst>
              <a:ext uri="{FF2B5EF4-FFF2-40B4-BE49-F238E27FC236}">
                <a16:creationId xmlns:a16="http://schemas.microsoft.com/office/drawing/2014/main" id="{9FED1E01-1293-4D88-A201-BD30C653BF2A}"/>
              </a:ext>
            </a:extLst>
          </p:cNvPr>
          <p:cNvCxnSpPr/>
          <p:nvPr/>
        </p:nvCxnSpPr>
        <p:spPr>
          <a:xfrm>
            <a:off x="8859416" y="2636302"/>
            <a:ext cx="0" cy="1077285"/>
          </a:xfrm>
          <a:prstGeom prst="line">
            <a:avLst/>
          </a:prstGeom>
          <a:ln w="349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ruta 11">
            <a:extLst>
              <a:ext uri="{FF2B5EF4-FFF2-40B4-BE49-F238E27FC236}">
                <a16:creationId xmlns:a16="http://schemas.microsoft.com/office/drawing/2014/main" id="{CD32DA45-EDA1-43DD-BF6E-0A204AEE6DE3}"/>
              </a:ext>
            </a:extLst>
          </p:cNvPr>
          <p:cNvSpPr txBox="1"/>
          <p:nvPr/>
        </p:nvSpPr>
        <p:spPr>
          <a:xfrm>
            <a:off x="7623754" y="436363"/>
            <a:ext cx="139025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pföljn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d utrednings-team och biståndshand-läggare</a:t>
            </a:r>
          </a:p>
        </p:txBody>
      </p:sp>
      <p:cxnSp>
        <p:nvCxnSpPr>
          <p:cNvPr id="14" name="Rak pilkoppling 13">
            <a:extLst>
              <a:ext uri="{FF2B5EF4-FFF2-40B4-BE49-F238E27FC236}">
                <a16:creationId xmlns:a16="http://schemas.microsoft.com/office/drawing/2014/main" id="{C81B9101-C1FF-4121-8044-4B48EF5E9085}"/>
              </a:ext>
            </a:extLst>
          </p:cNvPr>
          <p:cNvCxnSpPr>
            <a:cxnSpLocks/>
          </p:cNvCxnSpPr>
          <p:nvPr/>
        </p:nvCxnSpPr>
        <p:spPr>
          <a:xfrm>
            <a:off x="1731993" y="2676343"/>
            <a:ext cx="739035" cy="8097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ruta 16">
            <a:extLst>
              <a:ext uri="{FF2B5EF4-FFF2-40B4-BE49-F238E27FC236}">
                <a16:creationId xmlns:a16="http://schemas.microsoft.com/office/drawing/2014/main" id="{235AEA23-E847-4F81-8702-7FCB5CB3403E}"/>
              </a:ext>
            </a:extLst>
          </p:cNvPr>
          <p:cNvSpPr txBox="1"/>
          <p:nvPr/>
        </p:nvSpPr>
        <p:spPr>
          <a:xfrm>
            <a:off x="2319823" y="726425"/>
            <a:ext cx="135062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gnitiv utredning hembesö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munteam</a:t>
            </a:r>
          </a:p>
        </p:txBody>
      </p:sp>
      <p:sp>
        <p:nvSpPr>
          <p:cNvPr id="19" name="Rektangel: rundade hörn 18">
            <a:extLst>
              <a:ext uri="{FF2B5EF4-FFF2-40B4-BE49-F238E27FC236}">
                <a16:creationId xmlns:a16="http://schemas.microsoft.com/office/drawing/2014/main" id="{31B3EFEC-7EFE-40F6-BDA5-3E445990A3DD}"/>
              </a:ext>
            </a:extLst>
          </p:cNvPr>
          <p:cNvSpPr/>
          <p:nvPr/>
        </p:nvSpPr>
        <p:spPr>
          <a:xfrm>
            <a:off x="2487838" y="2223902"/>
            <a:ext cx="902726" cy="914400"/>
          </a:xfrm>
          <a:prstGeom prst="roundRect">
            <a:avLst/>
          </a:prstGeom>
          <a:solidFill>
            <a:schemeClr val="accent1">
              <a:alpha val="43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2 dagar</a:t>
            </a:r>
          </a:p>
        </p:txBody>
      </p:sp>
      <p:sp>
        <p:nvSpPr>
          <p:cNvPr id="20" name="Rektangel: rundade hörn 19">
            <a:extLst>
              <a:ext uri="{FF2B5EF4-FFF2-40B4-BE49-F238E27FC236}">
                <a16:creationId xmlns:a16="http://schemas.microsoft.com/office/drawing/2014/main" id="{3500DBB6-1631-4067-B5A1-46DFC27C620B}"/>
              </a:ext>
            </a:extLst>
          </p:cNvPr>
          <p:cNvSpPr/>
          <p:nvPr/>
        </p:nvSpPr>
        <p:spPr>
          <a:xfrm>
            <a:off x="4179972" y="2227240"/>
            <a:ext cx="902726" cy="914400"/>
          </a:xfrm>
          <a:prstGeom prst="roundRect">
            <a:avLst/>
          </a:prstGeom>
          <a:solidFill>
            <a:schemeClr val="accent1">
              <a:alpha val="43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om 9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gar</a:t>
            </a:r>
          </a:p>
        </p:txBody>
      </p:sp>
      <p:sp>
        <p:nvSpPr>
          <p:cNvPr id="21" name="textruta 20">
            <a:extLst>
              <a:ext uri="{FF2B5EF4-FFF2-40B4-BE49-F238E27FC236}">
                <a16:creationId xmlns:a16="http://schemas.microsoft.com/office/drawing/2014/main" id="{B141388A-304B-4FBB-A260-BD436AE483C0}"/>
              </a:ext>
            </a:extLst>
          </p:cNvPr>
          <p:cNvSpPr txBox="1"/>
          <p:nvPr/>
        </p:nvSpPr>
        <p:spPr>
          <a:xfrm>
            <a:off x="3876878" y="763982"/>
            <a:ext cx="13506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agnosbesök</a:t>
            </a:r>
          </a:p>
        </p:txBody>
      </p:sp>
      <p:sp>
        <p:nvSpPr>
          <p:cNvPr id="24" name="Rektangel: rundade hörn 23">
            <a:extLst>
              <a:ext uri="{FF2B5EF4-FFF2-40B4-BE49-F238E27FC236}">
                <a16:creationId xmlns:a16="http://schemas.microsoft.com/office/drawing/2014/main" id="{476133D3-725D-43F2-956F-C8ABAADBF408}"/>
              </a:ext>
            </a:extLst>
          </p:cNvPr>
          <p:cNvSpPr/>
          <p:nvPr/>
        </p:nvSpPr>
        <p:spPr>
          <a:xfrm>
            <a:off x="3904658" y="3429101"/>
            <a:ext cx="1499047" cy="1891045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från </a:t>
            </a:r>
            <a:r>
              <a:rPr kumimoji="0" lang="sv-S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veDem</a:t>
            </a: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Återkopplings-blankett till kommunens utredningstea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textruta 25">
            <a:extLst>
              <a:ext uri="{FF2B5EF4-FFF2-40B4-BE49-F238E27FC236}">
                <a16:creationId xmlns:a16="http://schemas.microsoft.com/office/drawing/2014/main" id="{B89971DF-3AFE-44D6-994B-D3C19E9EE8D7}"/>
              </a:ext>
            </a:extLst>
          </p:cNvPr>
          <p:cNvSpPr txBox="1"/>
          <p:nvPr/>
        </p:nvSpPr>
        <p:spPr>
          <a:xfrm>
            <a:off x="5720921" y="465195"/>
            <a:ext cx="135062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Återkoppling från VC – till kommunteam angående diagnos eller inte</a:t>
            </a:r>
          </a:p>
        </p:txBody>
      </p:sp>
      <p:sp>
        <p:nvSpPr>
          <p:cNvPr id="27" name="Rektangel: rundade hörn 26">
            <a:extLst>
              <a:ext uri="{FF2B5EF4-FFF2-40B4-BE49-F238E27FC236}">
                <a16:creationId xmlns:a16="http://schemas.microsoft.com/office/drawing/2014/main" id="{5455794C-FB0B-4651-9889-7EC60EBEF7FF}"/>
              </a:ext>
            </a:extLst>
          </p:cNvPr>
          <p:cNvSpPr/>
          <p:nvPr/>
        </p:nvSpPr>
        <p:spPr>
          <a:xfrm>
            <a:off x="5906608" y="2222135"/>
            <a:ext cx="1066945" cy="914400"/>
          </a:xfrm>
          <a:prstGeom prst="roundRect">
            <a:avLst/>
          </a:prstGeom>
          <a:solidFill>
            <a:schemeClr val="accent1">
              <a:alpha val="43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kommit eller inte</a:t>
            </a:r>
          </a:p>
        </p:txBody>
      </p:sp>
      <p:sp>
        <p:nvSpPr>
          <p:cNvPr id="28" name="Rektangel: rundade hörn 27">
            <a:extLst>
              <a:ext uri="{FF2B5EF4-FFF2-40B4-BE49-F238E27FC236}">
                <a16:creationId xmlns:a16="http://schemas.microsoft.com/office/drawing/2014/main" id="{31290D7B-91B6-4857-A818-68C6E9C3B335}"/>
              </a:ext>
            </a:extLst>
          </p:cNvPr>
          <p:cNvSpPr/>
          <p:nvPr/>
        </p:nvSpPr>
        <p:spPr>
          <a:xfrm>
            <a:off x="5792597" y="3432704"/>
            <a:ext cx="1294965" cy="1891145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C meddelar kommun-team via återkopplin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lanket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ruta 28">
            <a:extLst>
              <a:ext uri="{FF2B5EF4-FFF2-40B4-BE49-F238E27FC236}">
                <a16:creationId xmlns:a16="http://schemas.microsoft.com/office/drawing/2014/main" id="{BA2A0D78-34D4-4478-B104-0C1E9D689FC9}"/>
              </a:ext>
            </a:extLst>
          </p:cNvPr>
          <p:cNvSpPr txBox="1"/>
          <p:nvPr/>
        </p:nvSpPr>
        <p:spPr>
          <a:xfrm>
            <a:off x="1835696" y="6021288"/>
            <a:ext cx="61885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amträffar</a:t>
            </a: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C och kommunteam minst en gång per termin</a:t>
            </a:r>
          </a:p>
        </p:txBody>
      </p:sp>
      <p:sp>
        <p:nvSpPr>
          <p:cNvPr id="30" name="Rektangel: rundade hörn 29">
            <a:extLst>
              <a:ext uri="{FF2B5EF4-FFF2-40B4-BE49-F238E27FC236}">
                <a16:creationId xmlns:a16="http://schemas.microsoft.com/office/drawing/2014/main" id="{56019618-B2D2-4144-9BAA-4DCAB20917E3}"/>
              </a:ext>
            </a:extLst>
          </p:cNvPr>
          <p:cNvSpPr/>
          <p:nvPr/>
        </p:nvSpPr>
        <p:spPr>
          <a:xfrm>
            <a:off x="7844108" y="2204817"/>
            <a:ext cx="892348" cy="914400"/>
          </a:xfrm>
          <a:prstGeom prst="roundRect">
            <a:avLst/>
          </a:prstGeom>
          <a:solidFill>
            <a:schemeClr val="accent1">
              <a:alpha val="43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om 60 – 120 dagar</a:t>
            </a:r>
          </a:p>
        </p:txBody>
      </p:sp>
      <p:sp>
        <p:nvSpPr>
          <p:cNvPr id="36" name="Rektangel: rundade hörn 35">
            <a:extLst>
              <a:ext uri="{FF2B5EF4-FFF2-40B4-BE49-F238E27FC236}">
                <a16:creationId xmlns:a16="http://schemas.microsoft.com/office/drawing/2014/main" id="{FACCB405-F50B-44A8-8460-332DCDBF212C}"/>
              </a:ext>
            </a:extLst>
          </p:cNvPr>
          <p:cNvSpPr/>
          <p:nvPr/>
        </p:nvSpPr>
        <p:spPr>
          <a:xfrm>
            <a:off x="7818146" y="3429000"/>
            <a:ext cx="944271" cy="1891145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nteras via pappersblankett av kommunen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0" name="Rak pilkoppling 9">
            <a:extLst>
              <a:ext uri="{FF2B5EF4-FFF2-40B4-BE49-F238E27FC236}">
                <a16:creationId xmlns:a16="http://schemas.microsoft.com/office/drawing/2014/main" id="{A9183479-5B08-6381-708F-6928A9555920}"/>
              </a:ext>
            </a:extLst>
          </p:cNvPr>
          <p:cNvCxnSpPr>
            <a:cxnSpLocks/>
          </p:cNvCxnSpPr>
          <p:nvPr/>
        </p:nvCxnSpPr>
        <p:spPr>
          <a:xfrm>
            <a:off x="3414568" y="2668243"/>
            <a:ext cx="739035" cy="8097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Rak pilkoppling 12">
            <a:extLst>
              <a:ext uri="{FF2B5EF4-FFF2-40B4-BE49-F238E27FC236}">
                <a16:creationId xmlns:a16="http://schemas.microsoft.com/office/drawing/2014/main" id="{35DFEA47-B4C4-1008-3362-76D9E993AFE2}"/>
              </a:ext>
            </a:extLst>
          </p:cNvPr>
          <p:cNvCxnSpPr>
            <a:cxnSpLocks/>
          </p:cNvCxnSpPr>
          <p:nvPr/>
        </p:nvCxnSpPr>
        <p:spPr>
          <a:xfrm>
            <a:off x="5125136" y="2650586"/>
            <a:ext cx="739035" cy="8097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Rak pilkoppling 14">
            <a:extLst>
              <a:ext uri="{FF2B5EF4-FFF2-40B4-BE49-F238E27FC236}">
                <a16:creationId xmlns:a16="http://schemas.microsoft.com/office/drawing/2014/main" id="{0F37E39B-3E71-4AD4-CA4E-58DD5C51E465}"/>
              </a:ext>
            </a:extLst>
          </p:cNvPr>
          <p:cNvCxnSpPr>
            <a:cxnSpLocks/>
          </p:cNvCxnSpPr>
          <p:nvPr/>
        </p:nvCxnSpPr>
        <p:spPr>
          <a:xfrm>
            <a:off x="7039313" y="2668243"/>
            <a:ext cx="739035" cy="8097"/>
          </a:xfrm>
          <a:prstGeom prst="straightConnector1">
            <a:avLst/>
          </a:prstGeom>
          <a:ln w="158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ktangel: rundade hörn 15">
            <a:extLst>
              <a:ext uri="{FF2B5EF4-FFF2-40B4-BE49-F238E27FC236}">
                <a16:creationId xmlns:a16="http://schemas.microsoft.com/office/drawing/2014/main" id="{D3B79E69-A745-8AE3-7ACD-D52B308F3B8F}"/>
              </a:ext>
            </a:extLst>
          </p:cNvPr>
          <p:cNvSpPr/>
          <p:nvPr/>
        </p:nvSpPr>
        <p:spPr>
          <a:xfrm>
            <a:off x="2471028" y="3429100"/>
            <a:ext cx="930728" cy="1891046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från SveDe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pic>
        <p:nvPicPr>
          <p:cNvPr id="25" name="Bildobjekt 2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8298" y="199589"/>
            <a:ext cx="5185048" cy="385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1045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3D08933-40D4-4C95-2E49-1308FBBFC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2878" y="524414"/>
            <a:ext cx="7538699" cy="1265447"/>
          </a:xfrm>
        </p:spPr>
        <p:txBody>
          <a:bodyPr/>
          <a:lstStyle/>
          <a:p>
            <a:r>
              <a:rPr lang="sv-SE" sz="3600" dirty="0"/>
              <a:t>Genomförda / Pågående aktivitete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D48DB023-4058-5B6F-63AF-5ABCF004C1E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/>
              <a:t>Nya blanketter för </a:t>
            </a:r>
            <a:r>
              <a:rPr lang="sv-SE" dirty="0" err="1"/>
              <a:t>Svedemregistrering</a:t>
            </a:r>
            <a:r>
              <a:rPr lang="sv-SE" dirty="0"/>
              <a:t> och återkoppling från Vc till kommun</a:t>
            </a:r>
          </a:p>
          <a:p>
            <a:endParaRPr lang="sv-SE" sz="800" dirty="0"/>
          </a:p>
          <a:p>
            <a:r>
              <a:rPr lang="sv-SE" dirty="0"/>
              <a:t>Informationsträff med </a:t>
            </a:r>
            <a:r>
              <a:rPr lang="sv-SE" dirty="0" err="1"/>
              <a:t>vårdcentralschefer</a:t>
            </a:r>
            <a:r>
              <a:rPr lang="sv-SE" dirty="0"/>
              <a:t> och PVC-ledning</a:t>
            </a:r>
          </a:p>
          <a:p>
            <a:endParaRPr lang="sv-SE" sz="800" dirty="0"/>
          </a:p>
          <a:p>
            <a:r>
              <a:rPr lang="sv-SE" dirty="0"/>
              <a:t>Informationsträffar för utredningsteam och biståndshandläggare</a:t>
            </a:r>
          </a:p>
          <a:p>
            <a:endParaRPr lang="sv-SE" sz="800" dirty="0"/>
          </a:p>
          <a:p>
            <a:r>
              <a:rPr lang="sv-SE" dirty="0"/>
              <a:t>Exceldokument med makron för sammanställning av data</a:t>
            </a:r>
          </a:p>
        </p:txBody>
      </p:sp>
      <p:pic>
        <p:nvPicPr>
          <p:cNvPr id="5" name="Bildobjekt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6909" y="201298"/>
            <a:ext cx="7782751" cy="578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72985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/>
          <p:cNvSpPr>
            <a:spLocks noGrp="1"/>
          </p:cNvSpPr>
          <p:nvPr>
            <p:ph idx="1"/>
          </p:nvPr>
        </p:nvSpPr>
        <p:spPr>
          <a:xfrm>
            <a:off x="457200" y="2410538"/>
            <a:ext cx="8024849" cy="3890839"/>
          </a:xfrm>
        </p:spPr>
        <p:txBody>
          <a:bodyPr>
            <a:normAutofit lnSpcReduction="10000"/>
          </a:bodyPr>
          <a:lstStyle/>
          <a:p>
            <a:r>
              <a:rPr lang="sv-SE" dirty="0" smtClean="0"/>
              <a:t>Hemsjukvårsreform 2014</a:t>
            </a:r>
          </a:p>
          <a:p>
            <a:r>
              <a:rPr lang="sv-SE" dirty="0" smtClean="0"/>
              <a:t>Olika journalsystem kommuner/region</a:t>
            </a:r>
          </a:p>
          <a:p>
            <a:r>
              <a:rPr lang="sv-SE" dirty="0" smtClean="0"/>
              <a:t>Goda exempel från Centrala länsdelen</a:t>
            </a:r>
          </a:p>
          <a:p>
            <a:pPr marL="90488" indent="0">
              <a:buNone/>
            </a:pPr>
            <a:r>
              <a:rPr lang="sv-SE" dirty="0"/>
              <a:t> </a:t>
            </a:r>
            <a:r>
              <a:rPr lang="sv-SE" dirty="0" smtClean="0"/>
              <a:t>-regelbundna planerade konsultationsträffar 3/termin då alla </a:t>
            </a:r>
            <a:r>
              <a:rPr lang="sv-SE" dirty="0" err="1" smtClean="0"/>
              <a:t>demenutredningar</a:t>
            </a:r>
            <a:r>
              <a:rPr lang="sv-SE" dirty="0" smtClean="0"/>
              <a:t> tas upp, plus </a:t>
            </a:r>
            <a:r>
              <a:rPr lang="sv-SE" dirty="0" err="1" smtClean="0"/>
              <a:t>ev</a:t>
            </a:r>
            <a:r>
              <a:rPr lang="sv-SE" dirty="0" smtClean="0"/>
              <a:t> andra frågor gällande demens. </a:t>
            </a:r>
          </a:p>
          <a:p>
            <a:pPr marL="90488" indent="0">
              <a:buNone/>
            </a:pPr>
            <a:r>
              <a:rPr lang="sv-SE" dirty="0"/>
              <a:t> </a:t>
            </a:r>
            <a:r>
              <a:rPr lang="sv-SE" dirty="0" smtClean="0"/>
              <a:t>- deltar gör läkare VC, kommunens utredningsteam och Läkare Minnesmottagningen</a:t>
            </a:r>
          </a:p>
          <a:p>
            <a:pPr marL="90488" indent="0">
              <a:buNone/>
            </a:pPr>
            <a:endParaRPr lang="sv-SE" dirty="0"/>
          </a:p>
          <a:p>
            <a:pPr marL="90488" indent="0">
              <a:buNone/>
            </a:pPr>
            <a:r>
              <a:rPr lang="sv-SE" dirty="0" smtClean="0"/>
              <a:t>    </a:t>
            </a:r>
            <a:r>
              <a:rPr lang="sv-SE" sz="2800" dirty="0" smtClean="0"/>
              <a:t>Kan detta var något för väster att ta efter???</a:t>
            </a:r>
            <a:endParaRPr lang="sv-SE" sz="2800" dirty="0"/>
          </a:p>
        </p:txBody>
      </p:sp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Rutin återkoppling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8CCFDF-DFA5-484F-9FF8-7212AEA69C48}" type="slidenum">
              <a:rPr lang="sv-SE" smtClean="0"/>
              <a:pPr/>
              <a:t>12</a:t>
            </a:fld>
            <a:endParaRPr lang="sv-SE" dirty="0"/>
          </a:p>
        </p:txBody>
      </p:sp>
      <p:pic>
        <p:nvPicPr>
          <p:cNvPr id="5" name="Bildobjekt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8719" y="127611"/>
            <a:ext cx="7778367" cy="578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86526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text 1">
            <a:extLst>
              <a:ext uri="{FF2B5EF4-FFF2-40B4-BE49-F238E27FC236}">
                <a16:creationId xmlns:a16="http://schemas.microsoft.com/office/drawing/2014/main" id="{F14000AC-3A61-E673-222D-1A00D524657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559" y="1914612"/>
            <a:ext cx="9144000" cy="1763788"/>
          </a:xfrm>
        </p:spPr>
        <p:txBody>
          <a:bodyPr/>
          <a:lstStyle/>
          <a:p>
            <a:r>
              <a:rPr lang="sv-SE" dirty="0"/>
              <a:t>MCI-registrering i </a:t>
            </a:r>
            <a:r>
              <a:rPr lang="sv-SE" dirty="0" err="1"/>
              <a:t>Svedem</a:t>
            </a:r>
            <a:endParaRPr lang="sv-SE" dirty="0"/>
          </a:p>
        </p:txBody>
      </p:sp>
      <p:pic>
        <p:nvPicPr>
          <p:cNvPr id="3" name="Bildobjekt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5175" y="371920"/>
            <a:ext cx="8693649" cy="64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6395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093F7ACF-5046-D1B6-51CB-843A4FBD0C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2000" dirty="0">
                <a:solidFill>
                  <a:srgbClr val="333333"/>
                </a:solidFill>
                <a:effectLst/>
                <a:latin typeface="+mn-lt"/>
                <a:ea typeface="Calibri" panose="020F0502020204030204" pitchFamily="34" charset="0"/>
              </a:rPr>
              <a:t>Sedan den 20 oktober 2021 kan anslutna enheter i primärvården grundregistrera diagnosen Lindrig kognitiv störning (som antas komma utvecklas till en Alzheimers sjukdom).</a:t>
            </a:r>
          </a:p>
          <a:p>
            <a:endParaRPr lang="sv-SE" sz="1800" dirty="0">
              <a:solidFill>
                <a:srgbClr val="333333"/>
              </a:solidFill>
              <a:latin typeface="+mn-lt"/>
            </a:endParaRPr>
          </a:p>
          <a:p>
            <a:r>
              <a:rPr lang="sv-SE" sz="2000" dirty="0">
                <a:solidFill>
                  <a:srgbClr val="333333"/>
                </a:solidFill>
                <a:latin typeface="+mn-lt"/>
              </a:rPr>
              <a:t>VPP demens har beslutat avvakta med detta</a:t>
            </a:r>
          </a:p>
          <a:p>
            <a:pPr lvl="1"/>
            <a:r>
              <a:rPr lang="sv-SE" sz="2000" dirty="0">
                <a:solidFill>
                  <a:srgbClr val="333333"/>
                </a:solidFill>
                <a:latin typeface="+mn-lt"/>
              </a:rPr>
              <a:t>Svårt för </a:t>
            </a:r>
            <a:r>
              <a:rPr lang="sv-SE" sz="2000" dirty="0" err="1">
                <a:solidFill>
                  <a:srgbClr val="333333"/>
                </a:solidFill>
                <a:latin typeface="+mn-lt"/>
              </a:rPr>
              <a:t>pv</a:t>
            </a:r>
            <a:r>
              <a:rPr lang="sv-SE" sz="2000" dirty="0">
                <a:solidFill>
                  <a:srgbClr val="333333"/>
                </a:solidFill>
                <a:latin typeface="+mn-lt"/>
              </a:rPr>
              <a:t> att särskilja dessa MCI-patienter från de med kognitiv nedsättning av andra orsaker</a:t>
            </a:r>
          </a:p>
          <a:p>
            <a:pPr lvl="1"/>
            <a:r>
              <a:rPr lang="sv-SE" sz="2000" dirty="0">
                <a:solidFill>
                  <a:srgbClr val="333333"/>
                </a:solidFill>
                <a:latin typeface="+mn-lt"/>
              </a:rPr>
              <a:t>Krävs egentligen utredning med analys av </a:t>
            </a:r>
            <a:r>
              <a:rPr lang="sv-SE" sz="2000" dirty="0" err="1">
                <a:solidFill>
                  <a:srgbClr val="333333"/>
                </a:solidFill>
                <a:latin typeface="+mn-lt"/>
              </a:rPr>
              <a:t>liqvormarkörer</a:t>
            </a:r>
            <a:r>
              <a:rPr lang="sv-SE" sz="2000" dirty="0">
                <a:solidFill>
                  <a:srgbClr val="333333"/>
                </a:solidFill>
                <a:latin typeface="+mn-lt"/>
              </a:rPr>
              <a:t> eller </a:t>
            </a:r>
            <a:r>
              <a:rPr lang="sv-SE" sz="2000" dirty="0" err="1">
                <a:solidFill>
                  <a:srgbClr val="333333"/>
                </a:solidFill>
                <a:latin typeface="+mn-lt"/>
              </a:rPr>
              <a:t>amyloid</a:t>
            </a:r>
            <a:r>
              <a:rPr lang="sv-SE" sz="2000" dirty="0">
                <a:solidFill>
                  <a:srgbClr val="333333"/>
                </a:solidFill>
                <a:latin typeface="+mn-lt"/>
              </a:rPr>
              <a:t>-PET.</a:t>
            </a:r>
            <a:endParaRPr lang="sv-SE" sz="2000" dirty="0">
              <a:latin typeface="+mn-lt"/>
            </a:endParaRPr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F7A296B4-B766-97B0-0179-9C982AC887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MCI-registrering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F9F0376D-80E1-1AA4-6E6E-D1839E161F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8CCFDF-DFA5-484F-9FF8-7212AEA69C48}" type="slidenum">
              <a:rPr lang="sv-SE" smtClean="0"/>
              <a:pPr/>
              <a:t>14</a:t>
            </a:fld>
            <a:endParaRPr lang="sv-SE" dirty="0"/>
          </a:p>
        </p:txBody>
      </p:sp>
      <p:pic>
        <p:nvPicPr>
          <p:cNvPr id="5" name="Bildobjekt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2879" y="199589"/>
            <a:ext cx="7642971" cy="568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8200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D279B704-B33D-9C50-D21A-7747BD8A89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/>
              <a:t>Framtida utveckling med analys av demensmarkörer i blodprov och nya behandlingsmöjligheter vid MCI / tidig Alzheimer kan komma att ändra på detta</a:t>
            </a:r>
          </a:p>
          <a:p>
            <a:endParaRPr lang="sv-SE" dirty="0"/>
          </a:p>
          <a:p>
            <a:r>
              <a:rPr lang="sv-SE" dirty="0"/>
              <a:t>Mer info </a:t>
            </a:r>
            <a:r>
              <a:rPr lang="sv-SE" dirty="0" err="1"/>
              <a:t>kl</a:t>
            </a:r>
            <a:r>
              <a:rPr lang="sv-SE" dirty="0"/>
              <a:t> 13:30…</a:t>
            </a:r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1DD0324D-9D73-54F9-EF85-BD0FA80AC8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MCI-registrering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0B5705DC-EA60-B89B-56DF-99A6106884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8CCFDF-DFA5-484F-9FF8-7212AEA69C48}" type="slidenum">
              <a:rPr lang="sv-SE" smtClean="0"/>
              <a:pPr/>
              <a:t>15</a:t>
            </a:fld>
            <a:endParaRPr lang="sv-SE" dirty="0"/>
          </a:p>
        </p:txBody>
      </p:sp>
      <p:pic>
        <p:nvPicPr>
          <p:cNvPr id="5" name="Bildobjekt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0109" y="199589"/>
            <a:ext cx="7575741" cy="563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6270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CF6812FF-3345-CFAC-1CCD-6FA4E74F9D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/>
              <a:t>Uppföljning av MCI-patienter får även fortsättningsvis skötas via respektive vårdcentral</a:t>
            </a:r>
          </a:p>
          <a:p>
            <a:endParaRPr lang="sv-SE" sz="1800" dirty="0"/>
          </a:p>
          <a:p>
            <a:r>
              <a:rPr lang="sv-SE" dirty="0"/>
              <a:t>Bäst är att lägga dem på VL</a:t>
            </a:r>
          </a:p>
          <a:p>
            <a:endParaRPr lang="sv-SE" sz="1800" dirty="0"/>
          </a:p>
          <a:p>
            <a:r>
              <a:rPr lang="sv-SE" dirty="0"/>
              <a:t>Remiss för ny testning </a:t>
            </a:r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1493EB3A-E4DE-3D77-EBEC-CEA707FEB5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MCI-registrering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AF910A02-A722-2D14-5AA6-DAC2797035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8CCFDF-DFA5-484F-9FF8-7212AEA69C48}" type="slidenum">
              <a:rPr lang="sv-SE" smtClean="0"/>
              <a:pPr/>
              <a:t>16</a:t>
            </a:fld>
            <a:endParaRPr lang="sv-SE" dirty="0"/>
          </a:p>
        </p:txBody>
      </p:sp>
      <p:pic>
        <p:nvPicPr>
          <p:cNvPr id="5" name="Bildobjekt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3236" y="199589"/>
            <a:ext cx="7492614" cy="557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318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90488" indent="0">
              <a:buNone/>
            </a:pPr>
            <a:r>
              <a:rPr lang="sv-SE" sz="3600" dirty="0" smtClean="0"/>
              <a:t>Maria Kling</a:t>
            </a:r>
            <a:endParaRPr lang="sv-SE" sz="3600" dirty="0"/>
          </a:p>
        </p:txBody>
      </p:sp>
      <p:sp>
        <p:nvSpPr>
          <p:cNvPr id="3" name="Rubrik 2"/>
          <p:cNvSpPr>
            <a:spLocks noGrp="1"/>
          </p:cNvSpPr>
          <p:nvPr>
            <p:ph type="title"/>
          </p:nvPr>
        </p:nvSpPr>
        <p:spPr>
          <a:xfrm>
            <a:off x="1382879" y="969819"/>
            <a:ext cx="7099170" cy="1149882"/>
          </a:xfrm>
        </p:spPr>
        <p:txBody>
          <a:bodyPr/>
          <a:lstStyle/>
          <a:p>
            <a:r>
              <a:rPr lang="sv-SE" sz="4800" dirty="0" smtClean="0"/>
              <a:t>3  Månaders uppföljning</a:t>
            </a:r>
            <a:endParaRPr lang="sv-SE" sz="4800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8CCFDF-DFA5-484F-9FF8-7212AEA69C48}" type="slidenum">
              <a:rPr lang="sv-SE" smtClean="0"/>
              <a:pPr/>
              <a:t>17</a:t>
            </a:fld>
            <a:endParaRPr lang="sv-SE" dirty="0"/>
          </a:p>
        </p:txBody>
      </p:sp>
      <p:pic>
        <p:nvPicPr>
          <p:cNvPr id="5" name="Bildobjekt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2879" y="199589"/>
            <a:ext cx="7642971" cy="568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291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90488" indent="0">
              <a:buNone/>
            </a:pPr>
            <a:r>
              <a:rPr lang="sv-SE" sz="2400" b="1" dirty="0"/>
              <a:t>Personcentrerat och sammanhållet vårdförlopp </a:t>
            </a:r>
          </a:p>
          <a:p>
            <a:pPr marL="90488" indent="0">
              <a:buNone/>
            </a:pPr>
            <a:r>
              <a:rPr lang="sv-SE" sz="2400" b="1" dirty="0"/>
              <a:t>Kognitiv svikt vid misstänkt demenssjukdom</a:t>
            </a:r>
            <a:endParaRPr lang="sv-SE" b="1" dirty="0"/>
          </a:p>
          <a:p>
            <a:pPr marL="90488" indent="0">
              <a:buNone/>
            </a:pPr>
            <a:r>
              <a:rPr lang="sv-SE" i="1" dirty="0"/>
              <a:t>Sveriges regioner i samverkan 2021</a:t>
            </a:r>
          </a:p>
          <a:p>
            <a:pPr marL="90488" indent="0">
              <a:buNone/>
            </a:pPr>
            <a:endParaRPr lang="sv-SE" i="1" dirty="0"/>
          </a:p>
          <a:p>
            <a:pPr marL="90488" indent="0">
              <a:buNone/>
            </a:pPr>
            <a:endParaRPr lang="sv-SE" i="1" dirty="0"/>
          </a:p>
          <a:p>
            <a:pPr marL="90488" indent="0">
              <a:buNone/>
            </a:pPr>
            <a:r>
              <a:rPr lang="sv-SE" b="1" dirty="0"/>
              <a:t>Ett standardiserat insatsförlopp vid demenssjukdom</a:t>
            </a:r>
          </a:p>
          <a:p>
            <a:pPr marL="90488" indent="0">
              <a:buNone/>
            </a:pPr>
            <a:r>
              <a:rPr lang="sv-SE" i="1" dirty="0"/>
              <a:t>Socialstyrelsen 2019</a:t>
            </a:r>
          </a:p>
          <a:p>
            <a:pPr marL="90488" indent="0">
              <a:buNone/>
            </a:pPr>
            <a:endParaRPr lang="sv-SE" i="1" dirty="0"/>
          </a:p>
          <a:p>
            <a:endParaRPr lang="sv-SE" dirty="0"/>
          </a:p>
        </p:txBody>
      </p:sp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Bakgrund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8CCFDF-DFA5-484F-9FF8-7212AEA69C48}" type="slidenum">
              <a:rPr lang="sv-SE" smtClean="0"/>
              <a:pPr/>
              <a:t>2</a:t>
            </a:fld>
            <a:endParaRPr lang="sv-SE" dirty="0"/>
          </a:p>
        </p:txBody>
      </p:sp>
      <p:pic>
        <p:nvPicPr>
          <p:cNvPr id="6" name="Bildobjekt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1491" y="62596"/>
            <a:ext cx="7741995" cy="575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5278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/>
          <p:cNvSpPr/>
          <p:nvPr/>
        </p:nvSpPr>
        <p:spPr>
          <a:xfrm>
            <a:off x="7599556" y="4904961"/>
            <a:ext cx="1544444" cy="9243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sv-SE" sz="1350">
              <a:solidFill>
                <a:srgbClr val="FFFFFF"/>
              </a:solidFill>
              <a:latin typeface="Calibri" panose="020F0502020204030204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8564D2F-45CC-4D11-B1EF-80B21B99A4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8564D2F-45CC-4D11-B1EF-80B21B99A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B21C52E-9F03-416F-B9DA-51DBF7EF017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74617" y="616842"/>
            <a:ext cx="6964219" cy="986773"/>
          </a:xfrm>
        </p:spPr>
        <p:txBody>
          <a:bodyPr>
            <a:normAutofit/>
          </a:bodyPr>
          <a:lstStyle/>
          <a:p>
            <a:r>
              <a:rPr lang="sv-SE" dirty="0"/>
              <a:t>Personcentrerat och sammanhållet vårdförlopp </a:t>
            </a:r>
            <a:br>
              <a:rPr lang="sv-SE" dirty="0"/>
            </a:br>
            <a:r>
              <a:rPr lang="sv-SE" dirty="0"/>
              <a:t>för kognitiv svikt vid misstänkt demenssjukdom</a:t>
            </a:r>
          </a:p>
        </p:txBody>
      </p:sp>
      <p:sp>
        <p:nvSpPr>
          <p:cNvPr id="7" name="Rektangel 6"/>
          <p:cNvSpPr/>
          <p:nvPr/>
        </p:nvSpPr>
        <p:spPr>
          <a:xfrm>
            <a:off x="671439" y="1852960"/>
            <a:ext cx="766065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sv-SE" sz="1500" i="1" dirty="0">
                <a:solidFill>
                  <a:srgbClr val="377D7A"/>
                </a:solidFill>
                <a:latin typeface="Calibri" panose="020F0502020204030204"/>
              </a:rPr>
              <a:t>Vårdförloppet inleds vid misstanke om demenssjukdom och avslutas vid att en demensdiagnos är bekräftad eller avfärdad</a:t>
            </a:r>
            <a:endParaRPr lang="sv-SE" sz="1500" dirty="0">
              <a:solidFill>
                <a:srgbClr val="377D7A"/>
              </a:solidFill>
              <a:latin typeface="Calibri" panose="020F0502020204030204"/>
            </a:endParaRPr>
          </a:p>
        </p:txBody>
      </p:sp>
      <p:sp>
        <p:nvSpPr>
          <p:cNvPr id="8" name="Rectangle 20">
            <a:extLst>
              <a:ext uri="{FF2B5EF4-FFF2-40B4-BE49-F238E27FC236}">
                <a16:creationId xmlns:a16="http://schemas.microsoft.com/office/drawing/2014/main" id="{3E0FFD61-48A6-4B7A-BD67-7DC59845871C}"/>
              </a:ext>
            </a:extLst>
          </p:cNvPr>
          <p:cNvSpPr/>
          <p:nvPr/>
        </p:nvSpPr>
        <p:spPr>
          <a:xfrm>
            <a:off x="741557" y="2656303"/>
            <a:ext cx="3768324" cy="2927003"/>
          </a:xfrm>
          <a:prstGeom prst="rect">
            <a:avLst/>
          </a:prstGeom>
          <a:solidFill>
            <a:srgbClr val="D1EBE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rtlCol="0" anchor="t"/>
          <a:lstStyle/>
          <a:p>
            <a:pPr defTabSz="685800">
              <a:spcBef>
                <a:spcPts val="450"/>
              </a:spcBef>
              <a:spcAft>
                <a:spcPts val="450"/>
              </a:spcAft>
            </a:pPr>
            <a:r>
              <a:rPr lang="sv-SE" sz="1200" b="1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/>
                <a:cs typeface="Arial Unicode MS"/>
              </a:rPr>
              <a:t>Den basala utredningen syftar till att fastställa:</a:t>
            </a:r>
          </a:p>
          <a:p>
            <a:pPr marL="257175" indent="-257175" defTabSz="685800">
              <a:spcBef>
                <a:spcPts val="450"/>
              </a:spcBef>
              <a:spcAft>
                <a:spcPts val="450"/>
              </a:spcAft>
              <a:buFont typeface="Calibri" panose="020F0502020204030204" pitchFamily="34" charset="0"/>
              <a:buChar char="•"/>
              <a:tabLst>
                <a:tab pos="405289" algn="l"/>
              </a:tabLst>
            </a:pPr>
            <a:r>
              <a:rPr lang="sv-SE" sz="12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/>
                <a:cs typeface="Arial Unicode MS"/>
              </a:rPr>
              <a:t>om personen har en kognitiv svikt och om den beror på en demenssjukdom eller om annan sjukdom orsakar eller bidrar till den kognitiva svikten</a:t>
            </a:r>
          </a:p>
          <a:p>
            <a:pPr marL="257175" indent="-257175" defTabSz="685800">
              <a:spcBef>
                <a:spcPts val="450"/>
              </a:spcBef>
              <a:spcAft>
                <a:spcPts val="450"/>
              </a:spcAft>
              <a:buFont typeface="Calibri" panose="020F0502020204030204" pitchFamily="34" charset="0"/>
              <a:buChar char="•"/>
              <a:tabLst>
                <a:tab pos="405289" algn="l"/>
              </a:tabLst>
            </a:pPr>
            <a:r>
              <a:rPr lang="sv-SE" sz="12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/>
                <a:cs typeface="Arial Unicode MS"/>
              </a:rPr>
              <a:t>vilka personer som är i behov av en fortsatt utvidgad utredning</a:t>
            </a:r>
          </a:p>
          <a:p>
            <a:pPr marL="257175" indent="-257175" defTabSz="685800">
              <a:spcBef>
                <a:spcPts val="450"/>
              </a:spcBef>
              <a:spcAft>
                <a:spcPts val="450"/>
              </a:spcAft>
              <a:buFont typeface="Calibri" panose="020F0502020204030204" pitchFamily="34" charset="0"/>
              <a:buChar char="•"/>
              <a:tabLst>
                <a:tab pos="405289" algn="l"/>
              </a:tabLst>
            </a:pPr>
            <a:r>
              <a:rPr lang="sv-SE" sz="12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/>
                <a:cs typeface="Arial Unicode MS"/>
              </a:rPr>
              <a:t>vilka funktionsnedsättningar som demenssjukdomen medför och vad man kan göra för att minimera eller kompensera för dessa.</a:t>
            </a:r>
          </a:p>
          <a:p>
            <a:pPr defTabSz="685800">
              <a:spcBef>
                <a:spcPts val="450"/>
              </a:spcBef>
              <a:spcAft>
                <a:spcPts val="450"/>
              </a:spcAft>
              <a:tabLst>
                <a:tab pos="405289" algn="l"/>
              </a:tabLst>
            </a:pPr>
            <a:r>
              <a:rPr lang="sv-SE" sz="12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/>
                <a:cs typeface="Arial Unicode MS"/>
              </a:rPr>
              <a:t>Vid oklarhet efter den basala utredningen kan en utvidgad utredning genomföras på en specialistenhet.</a:t>
            </a:r>
          </a:p>
          <a:p>
            <a:pPr defTabSz="685800">
              <a:lnSpc>
                <a:spcPts val="975"/>
              </a:lnSpc>
              <a:spcBef>
                <a:spcPts val="450"/>
              </a:spcBef>
              <a:spcAft>
                <a:spcPts val="450"/>
              </a:spcAft>
              <a:tabLst>
                <a:tab pos="405289" algn="l"/>
              </a:tabLst>
            </a:pPr>
            <a:endParaRPr lang="sv-SE" sz="1350" dirty="0">
              <a:solidFill>
                <a:srgbClr val="000000"/>
              </a:solidFill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Arial Unicode MS"/>
              <a:cs typeface="Arial Unicode M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B07D15-DBC9-4A8D-93AF-5B2C4F8F0C21}"/>
              </a:ext>
            </a:extLst>
          </p:cNvPr>
          <p:cNvSpPr/>
          <p:nvPr/>
        </p:nvSpPr>
        <p:spPr>
          <a:xfrm>
            <a:off x="4660093" y="2656303"/>
            <a:ext cx="3957134" cy="2927004"/>
          </a:xfrm>
          <a:prstGeom prst="rect">
            <a:avLst/>
          </a:prstGeom>
          <a:solidFill>
            <a:srgbClr val="D1EBE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rtlCol="0" anchor="t"/>
          <a:lstStyle/>
          <a:p>
            <a:pPr defTabSz="685800">
              <a:lnSpc>
                <a:spcPts val="975"/>
              </a:lnSpc>
              <a:spcBef>
                <a:spcPts val="450"/>
              </a:spcBef>
              <a:spcAft>
                <a:spcPts val="450"/>
              </a:spcAft>
            </a:pPr>
            <a:r>
              <a:rPr lang="sv-SE" sz="1200" b="1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/>
                <a:cs typeface="Arial Unicode MS"/>
              </a:rPr>
              <a:t>Målet är:</a:t>
            </a:r>
          </a:p>
          <a:p>
            <a:pPr marL="257175" indent="-257175" defTabSz="68580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/>
                <a:cs typeface="Arial Unicode MS"/>
              </a:rPr>
              <a:t>Att fler genomgår utredning</a:t>
            </a:r>
          </a:p>
          <a:p>
            <a:pPr marL="257175" indent="-257175" defTabSz="68580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/>
                <a:cs typeface="Arial Unicode MS"/>
              </a:rPr>
              <a:t>Att fler får utredning i ett tidigt skede </a:t>
            </a:r>
          </a:p>
          <a:p>
            <a:pPr marL="257175" indent="-257175" defTabSz="68580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/>
                <a:cs typeface="Arial Unicode MS"/>
              </a:rPr>
              <a:t>Kortare utredningstider</a:t>
            </a:r>
          </a:p>
          <a:p>
            <a:pPr marL="257175" indent="-257175" defTabSz="68580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/>
                <a:cs typeface="Arial Unicode MS"/>
              </a:rPr>
              <a:t>Minskade praxisskillnader vid utvidgade utredningar</a:t>
            </a:r>
          </a:p>
          <a:p>
            <a:pPr marL="257175" indent="-257175" defTabSz="68580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/>
                <a:cs typeface="Arial Unicode MS"/>
              </a:rPr>
              <a:t>Bättre förutsättningar för patientgruppen inom primärvården</a:t>
            </a:r>
          </a:p>
          <a:p>
            <a:pPr marL="257175" indent="-257175" defTabSz="68580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/>
                <a:cs typeface="Arial Unicode MS"/>
              </a:rPr>
              <a:t>Att patienter och anhöriga får mer stöd</a:t>
            </a:r>
          </a:p>
          <a:p>
            <a:pPr marL="257175" indent="-257175" defTabSz="68580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/>
                <a:cs typeface="Arial Unicode MS"/>
              </a:rPr>
              <a:t>Bättre förutsättningar för jämlik och adekvat läkemedelsbehandling </a:t>
            </a:r>
          </a:p>
          <a:p>
            <a:pPr marL="257175" indent="-257175" defTabSz="68580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sv-SE" sz="12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Arial Unicode MS"/>
                <a:cs typeface="Arial Unicode MS"/>
              </a:rPr>
              <a:t>Mer sammanhållen och personcentrerad vård och omsorg</a:t>
            </a:r>
            <a:endParaRPr lang="sv-SE" sz="1200" dirty="0">
              <a:solidFill>
                <a:srgbClr val="000000"/>
              </a:solidFill>
              <a:latin typeface="Calibri" panose="020F0502020204030204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ktangel 10"/>
          <p:cNvSpPr/>
          <p:nvPr/>
        </p:nvSpPr>
        <p:spPr>
          <a:xfrm rot="18892177">
            <a:off x="99344" y="702127"/>
            <a:ext cx="1728733" cy="30777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defTabSz="685800"/>
            <a:r>
              <a:rPr lang="sv-SE" sz="1400" b="1" i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manfattning</a:t>
            </a:r>
          </a:p>
        </p:txBody>
      </p:sp>
    </p:spTree>
    <p:extLst>
      <p:ext uri="{BB962C8B-B14F-4D97-AF65-F5344CB8AC3E}">
        <p14:creationId xmlns:p14="http://schemas.microsoft.com/office/powerpoint/2010/main" val="19846227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38B9E893-937E-45CB-885F-520E271A97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8B9E893-937E-45CB-885F-520E271A97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A758B33-E922-4132-AD7A-85BDE8A3221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685800">
              <a:defRPr/>
            </a:pPr>
            <a:endParaRPr lang="sv-SE" sz="2700" b="1" dirty="0">
              <a:solidFill>
                <a:srgbClr val="FFFFFF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ECD21E-1FC0-44B5-9B0F-67ECBD727D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1557" y="1319881"/>
            <a:ext cx="6858000" cy="457345"/>
          </a:xfrm>
        </p:spPr>
        <p:txBody>
          <a:bodyPr>
            <a:normAutofit fontScale="90000"/>
          </a:bodyPr>
          <a:lstStyle/>
          <a:p>
            <a:r>
              <a:rPr lang="sv-SE" dirty="0"/>
              <a:t>          Vad kommer att följas upp (urval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A3914D-6AB0-4643-82B5-C41FCC809901}"/>
              </a:ext>
            </a:extLst>
          </p:cNvPr>
          <p:cNvSpPr/>
          <p:nvPr/>
        </p:nvSpPr>
        <p:spPr>
          <a:xfrm>
            <a:off x="741557" y="2069770"/>
            <a:ext cx="3952166" cy="2822122"/>
          </a:xfrm>
          <a:prstGeom prst="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>
              <a:spcBef>
                <a:spcPts val="450"/>
              </a:spcBef>
            </a:pPr>
            <a:r>
              <a:rPr lang="sv-SE" sz="1500" b="1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För basala utredningar</a:t>
            </a:r>
          </a:p>
          <a:p>
            <a:pPr marL="257175" indent="-257175" defTabSz="685800"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sv-SE" sz="15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Antal dagar från start av utredning till diagnos, medel och medianvärde </a:t>
            </a:r>
            <a:r>
              <a:rPr lang="sv-SE" sz="1500" i="1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(≤ 30 </a:t>
            </a:r>
            <a:r>
              <a:rPr lang="sv-SE" sz="1500" i="1" dirty="0" err="1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dgr</a:t>
            </a:r>
            <a:r>
              <a:rPr lang="sv-SE" sz="1500" i="1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  <a:endParaRPr lang="sv-SE" sz="1500" dirty="0">
              <a:solidFill>
                <a:srgbClr val="000000"/>
              </a:solidFill>
              <a:latin typeface="Calibri" panose="020F0502020204030204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57175" indent="-257175" defTabSz="685800"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sv-SE" sz="15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Andelen personer med: </a:t>
            </a:r>
          </a:p>
          <a:p>
            <a:pPr marL="401241" lvl="1" indent="-134541" defTabSz="685800">
              <a:spcBef>
                <a:spcPts val="450"/>
              </a:spcBef>
              <a:buFont typeface="Calibri" panose="020F0502020204030204" pitchFamily="34" charset="0"/>
              <a:buChar char="─"/>
            </a:pPr>
            <a:r>
              <a:rPr lang="sv-SE" sz="15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nydiagnostiserad demenssjukdom som genomgått en fullständig basal kognitiv utredning </a:t>
            </a:r>
            <a:r>
              <a:rPr lang="sv-SE" sz="1500" i="1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(≥ 90%)</a:t>
            </a:r>
          </a:p>
          <a:p>
            <a:pPr marL="401241" lvl="1" indent="-134541" defTabSz="685800">
              <a:spcBef>
                <a:spcPts val="450"/>
              </a:spcBef>
              <a:buFont typeface="Calibri" panose="020F0502020204030204" pitchFamily="34" charset="0"/>
              <a:buChar char="─"/>
            </a:pPr>
            <a:r>
              <a:rPr lang="sv-SE" sz="15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diagnosticerad demenssjukdom som fått en strukturerad funktions- och aktivitets-bedömning som del av demens-utredningen </a:t>
            </a:r>
            <a:r>
              <a:rPr lang="sv-SE" sz="1500" i="1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(≥ 90%)</a:t>
            </a:r>
          </a:p>
          <a:p>
            <a:pPr marL="401241" lvl="1" indent="-134541" defTabSz="685800">
              <a:spcBef>
                <a:spcPts val="450"/>
              </a:spcBef>
              <a:buFont typeface="Calibri" panose="020F0502020204030204" pitchFamily="34" charset="0"/>
              <a:buChar char="─"/>
            </a:pPr>
            <a:endParaRPr lang="sv-SE" sz="1500" dirty="0">
              <a:solidFill>
                <a:srgbClr val="000000"/>
              </a:solidFill>
              <a:latin typeface="Calibri" panose="020F0502020204030204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3F30D1A-8F25-4810-A47A-39C95C855260}"/>
              </a:ext>
            </a:extLst>
          </p:cNvPr>
          <p:cNvSpPr/>
          <p:nvPr/>
        </p:nvSpPr>
        <p:spPr>
          <a:xfrm>
            <a:off x="4818415" y="2069770"/>
            <a:ext cx="4254335" cy="2888900"/>
          </a:xfrm>
          <a:prstGeom prst="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>
              <a:spcBef>
                <a:spcPts val="450"/>
              </a:spcBef>
            </a:pPr>
            <a:r>
              <a:rPr lang="sv-SE" sz="1500" b="1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För utvidgade utredningar</a:t>
            </a:r>
          </a:p>
          <a:p>
            <a:pPr marL="257175" indent="-257175" defTabSz="685800"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sv-SE" sz="15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Tid från kontaktdatum/mottagen remiss till diagnos </a:t>
            </a:r>
            <a:r>
              <a:rPr lang="sv-SE" sz="1500" i="1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(≤ 60 dagar)</a:t>
            </a:r>
          </a:p>
          <a:p>
            <a:pPr marL="257175" indent="-257175" defTabSz="685800"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sv-SE" sz="15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Andelen personer där vården, i samband med att personen informeras om diagnosen: </a:t>
            </a:r>
          </a:p>
          <a:p>
            <a:pPr marL="600075" lvl="1" indent="-257175" defTabSz="685800"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sv-SE" sz="15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förskriver demensläkemedel (Alzheimers sjukdom) </a:t>
            </a:r>
            <a:r>
              <a:rPr lang="sv-SE" sz="1500" i="1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(</a:t>
            </a:r>
            <a:r>
              <a:rPr lang="sv-SE" sz="1500" i="1" dirty="0" err="1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Sp.V</a:t>
            </a:r>
            <a:r>
              <a:rPr lang="sv-SE" sz="1500" i="1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 ≥ 80, PV ≥ 75 %)</a:t>
            </a:r>
          </a:p>
          <a:p>
            <a:pPr marL="600075" lvl="1" indent="-257175" defTabSz="685800"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sv-SE" sz="15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Initierar patientstöd (demenssjukdom) </a:t>
            </a:r>
            <a:br>
              <a:rPr lang="sv-SE" sz="15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sv-SE" sz="1500" i="1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(≥ 95 %)</a:t>
            </a:r>
          </a:p>
          <a:p>
            <a:pPr marL="600075" lvl="1" indent="-257175" defTabSz="685800">
              <a:spcBef>
                <a:spcPts val="450"/>
              </a:spcBef>
              <a:buFont typeface="Arial" panose="020B0604020202020204" pitchFamily="34" charset="0"/>
              <a:buChar char="•"/>
            </a:pPr>
            <a:r>
              <a:rPr lang="sv-SE" sz="15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Initierar anhörigstöd (demenssjukdom)</a:t>
            </a:r>
            <a:r>
              <a:rPr lang="sv-SE" sz="1500" i="1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br>
              <a:rPr lang="sv-SE" sz="1500" i="1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sv-SE" sz="1500" i="1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(≥ 95 %)</a:t>
            </a:r>
          </a:p>
          <a:p>
            <a:pPr marL="600075" lvl="1" indent="-257175" defTabSz="685800">
              <a:spcBef>
                <a:spcPts val="450"/>
              </a:spcBef>
              <a:buFont typeface="Arial" panose="020B0604020202020204" pitchFamily="34" charset="0"/>
              <a:buChar char="•"/>
            </a:pPr>
            <a:endParaRPr lang="sv-SE" sz="1500" dirty="0">
              <a:solidFill>
                <a:srgbClr val="000000"/>
              </a:solidFill>
              <a:latin typeface="Calibri" panose="020F0502020204030204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21">
            <a:extLst>
              <a:ext uri="{FF2B5EF4-FFF2-40B4-BE49-F238E27FC236}">
                <a16:creationId xmlns:a16="http://schemas.microsoft.com/office/drawing/2014/main" id="{6650076E-DDDA-425F-811D-9F7850FFFA5E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351" y="1265737"/>
            <a:ext cx="767262" cy="565631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1F77448-64CF-4386-8406-839026FD8FC9}"/>
              </a:ext>
            </a:extLst>
          </p:cNvPr>
          <p:cNvSpPr/>
          <p:nvPr/>
        </p:nvSpPr>
        <p:spPr>
          <a:xfrm>
            <a:off x="741557" y="5119779"/>
            <a:ext cx="6907073" cy="62580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800">
              <a:spcBef>
                <a:spcPts val="450"/>
              </a:spcBef>
              <a:defRPr/>
            </a:pPr>
            <a:r>
              <a:rPr lang="sv-SE" sz="1200" b="1" dirty="0">
                <a:solidFill>
                  <a:srgbClr val="FFFFFF"/>
                </a:solidFill>
                <a:latin typeface="Calibri" panose="020F0502020204030204"/>
              </a:rPr>
              <a:t>Datakällor:</a:t>
            </a:r>
            <a:r>
              <a:rPr lang="sv-SE" sz="1200" dirty="0">
                <a:solidFill>
                  <a:srgbClr val="FFFFFF"/>
                </a:solidFill>
                <a:latin typeface="Calibri" panose="020F0502020204030204"/>
              </a:rPr>
              <a:t> Etablerade och tillkommande indikatorer kan främst följas från kvalitetsregistret </a:t>
            </a:r>
            <a:r>
              <a:rPr lang="sv-SE" sz="1200" dirty="0" err="1">
                <a:solidFill>
                  <a:srgbClr val="FFFFFF"/>
                </a:solidFill>
                <a:latin typeface="Calibri" panose="020F0502020204030204"/>
              </a:rPr>
              <a:t>SveDem</a:t>
            </a:r>
            <a:r>
              <a:rPr lang="sv-SE" sz="1200" dirty="0">
                <a:solidFill>
                  <a:srgbClr val="FFFFFF"/>
                </a:solidFill>
                <a:latin typeface="Calibri" panose="020F0502020204030204"/>
              </a:rPr>
              <a:t>. Arbete för att vårddokumentationen ska bli strukturerad så kvalitetsvariablerna kan fångas behövs då täckningsgraden är begränsad i kvalitetsregistret.</a:t>
            </a:r>
          </a:p>
        </p:txBody>
      </p: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8BFA1D06-CE48-4110-8485-A9D28524682F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2848" y="5149930"/>
            <a:ext cx="565503" cy="565503"/>
          </a:xfrm>
          <a:prstGeom prst="rect">
            <a:avLst/>
          </a:prstGeom>
          <a:noFill/>
        </p:spPr>
      </p:pic>
      <p:sp>
        <p:nvSpPr>
          <p:cNvPr id="16" name="textruta 15"/>
          <p:cNvSpPr txBox="1"/>
          <p:nvPr/>
        </p:nvSpPr>
        <p:spPr>
          <a:xfrm>
            <a:off x="7726260" y="866657"/>
            <a:ext cx="141774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sv-SE" sz="900" dirty="0">
                <a:solidFill>
                  <a:srgbClr val="FFFFFF">
                    <a:lumMod val="65000"/>
                  </a:srgbClr>
                </a:solidFill>
                <a:latin typeface="Calibri" panose="020F0502020204030204"/>
              </a:rPr>
              <a:t>Kognitiv svikt vid misstänkt demenssjukdom </a:t>
            </a:r>
          </a:p>
        </p:txBody>
      </p:sp>
    </p:spTree>
    <p:extLst>
      <p:ext uri="{BB962C8B-B14F-4D97-AF65-F5344CB8AC3E}">
        <p14:creationId xmlns:p14="http://schemas.microsoft.com/office/powerpoint/2010/main" val="7195494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Platshållare för innehåll 12">
            <a:extLst>
              <a:ext uri="{FF2B5EF4-FFF2-40B4-BE49-F238E27FC236}">
                <a16:creationId xmlns:a16="http://schemas.microsoft.com/office/drawing/2014/main" id="{7EAA210A-6AA9-1F66-5B83-4414C12BA03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75954081"/>
              </p:ext>
            </p:extLst>
          </p:nvPr>
        </p:nvGraphicFramePr>
        <p:xfrm>
          <a:off x="2198254" y="701368"/>
          <a:ext cx="5030448" cy="596513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38580">
                  <a:extLst>
                    <a:ext uri="{9D8B030D-6E8A-4147-A177-3AD203B41FA5}">
                      <a16:colId xmlns:a16="http://schemas.microsoft.com/office/drawing/2014/main" val="3958241398"/>
                    </a:ext>
                  </a:extLst>
                </a:gridCol>
                <a:gridCol w="1266491">
                  <a:extLst>
                    <a:ext uri="{9D8B030D-6E8A-4147-A177-3AD203B41FA5}">
                      <a16:colId xmlns:a16="http://schemas.microsoft.com/office/drawing/2014/main" val="2674933662"/>
                    </a:ext>
                  </a:extLst>
                </a:gridCol>
                <a:gridCol w="1325377">
                  <a:extLst>
                    <a:ext uri="{9D8B030D-6E8A-4147-A177-3AD203B41FA5}">
                      <a16:colId xmlns:a16="http://schemas.microsoft.com/office/drawing/2014/main" val="480456841"/>
                    </a:ext>
                  </a:extLst>
                </a:gridCol>
              </a:tblGrid>
              <a:tr h="152121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100" dirty="0">
                          <a:effectLst/>
                        </a:rPr>
                        <a:t> </a:t>
                      </a:r>
                      <a:endParaRPr lang="sv-SE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effectLst/>
                        </a:rPr>
                        <a:t>Tid mellan kontakt/remiss och diagnos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sv-SE" sz="12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Median, dagar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effectLst/>
                        </a:rPr>
                        <a:t>Tid mellan utredningsstart och diagnos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sv-S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2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Median, dagar)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174397354"/>
                  </a:ext>
                </a:extLst>
              </a:tr>
              <a:tr h="44439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600" dirty="0">
                          <a:effectLst/>
                        </a:rPr>
                        <a:t>Marieberg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600" dirty="0">
                          <a:effectLst/>
                        </a:rPr>
                        <a:t>166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600">
                          <a:effectLst/>
                        </a:rPr>
                        <a:t>105</a:t>
                      </a:r>
                      <a:endParaRPr lang="sv-SE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99764576"/>
                  </a:ext>
                </a:extLst>
              </a:tr>
              <a:tr h="44439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600" dirty="0">
                          <a:effectLst/>
                        </a:rPr>
                        <a:t>Borensberg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600" dirty="0">
                          <a:effectLst/>
                        </a:rPr>
                        <a:t>206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600">
                          <a:effectLst/>
                        </a:rPr>
                        <a:t>82</a:t>
                      </a:r>
                      <a:endParaRPr lang="sv-SE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55588702"/>
                  </a:ext>
                </a:extLst>
              </a:tr>
              <a:tr h="44439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600" dirty="0">
                          <a:effectLst/>
                        </a:rPr>
                        <a:t>Brinken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600" dirty="0">
                          <a:effectLst/>
                        </a:rPr>
                        <a:t>74,6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600">
                          <a:effectLst/>
                        </a:rPr>
                        <a:t>28,5</a:t>
                      </a:r>
                      <a:endParaRPr lang="sv-SE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586978695"/>
                  </a:ext>
                </a:extLst>
              </a:tr>
              <a:tr h="44439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600" dirty="0">
                          <a:effectLst/>
                        </a:rPr>
                        <a:t>Lyckorna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600" dirty="0">
                          <a:effectLst/>
                        </a:rPr>
                        <a:t>152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600">
                          <a:effectLst/>
                        </a:rPr>
                        <a:t>41</a:t>
                      </a:r>
                      <a:endParaRPr lang="sv-SE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56951028"/>
                  </a:ext>
                </a:extLst>
              </a:tr>
              <a:tr h="44439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600" dirty="0">
                          <a:effectLst/>
                        </a:rPr>
                        <a:t>Vadstena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600" dirty="0">
                          <a:effectLst/>
                        </a:rPr>
                        <a:t>110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600" dirty="0">
                          <a:effectLst/>
                        </a:rPr>
                        <a:t>45,5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31679142"/>
                  </a:ext>
                </a:extLst>
              </a:tr>
              <a:tr h="44439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600" dirty="0">
                          <a:effectLst/>
                        </a:rPr>
                        <a:t>Ödeshög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600">
                          <a:effectLst/>
                        </a:rPr>
                        <a:t>80,5</a:t>
                      </a:r>
                      <a:endParaRPr lang="sv-SE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600" dirty="0">
                          <a:effectLst/>
                        </a:rPr>
                        <a:t>64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39025257"/>
                  </a:ext>
                </a:extLst>
              </a:tr>
              <a:tr h="44439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600" dirty="0">
                          <a:effectLst/>
                        </a:rPr>
                        <a:t>Skänninge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600">
                          <a:effectLst/>
                        </a:rPr>
                        <a:t>177</a:t>
                      </a:r>
                      <a:endParaRPr lang="sv-SE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600" dirty="0">
                          <a:effectLst/>
                        </a:rPr>
                        <a:t>44,5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48606836"/>
                  </a:ext>
                </a:extLst>
              </a:tr>
              <a:tr h="44439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600" dirty="0">
                          <a:effectLst/>
                        </a:rPr>
                        <a:t>Mjölby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600">
                          <a:effectLst/>
                        </a:rPr>
                        <a:t>128</a:t>
                      </a:r>
                      <a:endParaRPr lang="sv-SE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600" dirty="0">
                          <a:effectLst/>
                        </a:rPr>
                        <a:t>42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584429102"/>
                  </a:ext>
                </a:extLst>
              </a:tr>
              <a:tr h="44439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600" dirty="0">
                          <a:effectLst/>
                        </a:rPr>
                        <a:t>Mantorp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600">
                          <a:effectLst/>
                        </a:rPr>
                        <a:t>122</a:t>
                      </a:r>
                      <a:endParaRPr lang="sv-SE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600" dirty="0">
                          <a:effectLst/>
                        </a:rPr>
                        <a:t>64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503796014"/>
                  </a:ext>
                </a:extLst>
              </a:tr>
              <a:tr h="44439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600" dirty="0">
                          <a:effectLst/>
                        </a:rPr>
                        <a:t>Boxholm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600">
                          <a:effectLst/>
                        </a:rPr>
                        <a:t>126,5</a:t>
                      </a:r>
                      <a:endParaRPr lang="sv-SE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sv-SE" sz="1600" dirty="0">
                          <a:effectLst/>
                        </a:rPr>
                        <a:t>42,5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9735972"/>
                  </a:ext>
                </a:extLst>
              </a:tr>
            </a:tbl>
          </a:graphicData>
        </a:graphic>
      </p:graphicFrame>
      <p:pic>
        <p:nvPicPr>
          <p:cNvPr id="2" name="Bildobjekt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6145" y="131775"/>
            <a:ext cx="7662679" cy="569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61407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1ECBAF05-F930-F97A-EF8D-1730BE0F02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989438"/>
            <a:ext cx="8024849" cy="4021101"/>
          </a:xfrm>
        </p:spPr>
        <p:txBody>
          <a:bodyPr>
            <a:normAutofit lnSpcReduction="10000"/>
          </a:bodyPr>
          <a:lstStyle/>
          <a:p>
            <a:r>
              <a:rPr lang="sv-SE" sz="2000" dirty="0">
                <a:solidFill>
                  <a:srgbClr val="000000"/>
                </a:solidFill>
                <a:effectLst/>
                <a:latin typeface="+mn-lt"/>
                <a:ea typeface="Georgia" panose="02040502050405020303" pitchFamily="18" charset="0"/>
                <a:cs typeface="Georgia" panose="02040502050405020303" pitchFamily="18" charset="0"/>
              </a:rPr>
              <a:t>Ledningsgrupp vård och omsorg (</a:t>
            </a:r>
            <a:r>
              <a:rPr lang="sv-SE" sz="2000" b="1" dirty="0">
                <a:solidFill>
                  <a:srgbClr val="000000"/>
                </a:solidFill>
                <a:effectLst/>
                <a:latin typeface="+mn-lt"/>
                <a:ea typeface="Georgia" panose="02040502050405020303" pitchFamily="18" charset="0"/>
                <a:cs typeface="Georgia" panose="02040502050405020303" pitchFamily="18" charset="0"/>
              </a:rPr>
              <a:t>LGVO</a:t>
            </a:r>
            <a:r>
              <a:rPr lang="sv-SE" sz="2000" dirty="0">
                <a:solidFill>
                  <a:srgbClr val="000000"/>
                </a:solidFill>
                <a:effectLst/>
                <a:latin typeface="+mn-lt"/>
                <a:ea typeface="Georgia" panose="02040502050405020303" pitchFamily="18" charset="0"/>
                <a:cs typeface="Georgia" panose="02040502050405020303" pitchFamily="18" charset="0"/>
              </a:rPr>
              <a:t>) </a:t>
            </a:r>
          </a:p>
          <a:p>
            <a:r>
              <a:rPr lang="sv-SE" sz="2000" dirty="0">
                <a:latin typeface="+mn-lt"/>
                <a:ea typeface="Calibri" panose="020F0502020204030204" pitchFamily="34" charset="0"/>
              </a:rPr>
              <a:t>S</a:t>
            </a:r>
            <a:r>
              <a:rPr lang="sv-SE" sz="2000" dirty="0">
                <a:effectLst/>
                <a:latin typeface="+mn-lt"/>
                <a:ea typeface="Calibri" panose="020F0502020204030204" pitchFamily="34" charset="0"/>
              </a:rPr>
              <a:t>akområdesnätverket Kognitiv svikt vid demenssjukdom</a:t>
            </a:r>
          </a:p>
          <a:p>
            <a:pPr lvl="1"/>
            <a:r>
              <a:rPr lang="sv-SE" sz="1600" dirty="0">
                <a:latin typeface="+mn-lt"/>
              </a:rPr>
              <a:t>Boel Eklund (processtöd)</a:t>
            </a:r>
          </a:p>
          <a:p>
            <a:pPr lvl="1"/>
            <a:r>
              <a:rPr lang="sv-SE" sz="1600" dirty="0">
                <a:latin typeface="+mn-lt"/>
              </a:rPr>
              <a:t>Tove Hultberg</a:t>
            </a:r>
          </a:p>
          <a:p>
            <a:pPr lvl="1"/>
            <a:r>
              <a:rPr lang="sv-SE" sz="1600" dirty="0">
                <a:latin typeface="+mn-lt"/>
              </a:rPr>
              <a:t>Anna Bodén</a:t>
            </a:r>
          </a:p>
          <a:p>
            <a:pPr lvl="1"/>
            <a:r>
              <a:rPr lang="sv-SE" sz="1600" dirty="0">
                <a:latin typeface="+mn-lt"/>
              </a:rPr>
              <a:t>Thomas </a:t>
            </a:r>
            <a:r>
              <a:rPr lang="sv-SE" sz="1600" dirty="0" smtClean="0">
                <a:latin typeface="+mn-lt"/>
              </a:rPr>
              <a:t>Gylfe</a:t>
            </a:r>
          </a:p>
          <a:p>
            <a:pPr lvl="1"/>
            <a:r>
              <a:rPr lang="sv-SE" sz="1600" dirty="0" smtClean="0">
                <a:latin typeface="+mn-lt"/>
              </a:rPr>
              <a:t>Maria Kling</a:t>
            </a:r>
            <a:endParaRPr lang="sv-SE" sz="1600" dirty="0">
              <a:latin typeface="+mn-lt"/>
            </a:endParaRPr>
          </a:p>
          <a:p>
            <a:pPr lvl="1"/>
            <a:r>
              <a:rPr lang="sv-SE" sz="1600" dirty="0">
                <a:latin typeface="+mn-lt"/>
              </a:rPr>
              <a:t>M. fl.</a:t>
            </a:r>
          </a:p>
          <a:p>
            <a:pPr lvl="1"/>
            <a:endParaRPr lang="sv-SE" sz="1000" dirty="0">
              <a:latin typeface="+mn-lt"/>
            </a:endParaRPr>
          </a:p>
          <a:p>
            <a:r>
              <a:rPr lang="sv-SE" sz="2000" dirty="0">
                <a:latin typeface="+mn-lt"/>
              </a:rPr>
              <a:t>Uppdrag</a:t>
            </a:r>
          </a:p>
          <a:p>
            <a:pPr lvl="1"/>
            <a:r>
              <a:rPr lang="sv-SE" sz="2000" dirty="0">
                <a:latin typeface="+mn-lt"/>
                <a:ea typeface="Calibri" panose="020F0502020204030204" pitchFamily="34" charset="0"/>
              </a:rPr>
              <a:t>A</a:t>
            </a:r>
            <a:r>
              <a:rPr lang="sv-SE" sz="2000" dirty="0">
                <a:effectLst/>
                <a:latin typeface="+mn-lt"/>
                <a:ea typeface="Calibri" panose="020F0502020204030204" pitchFamily="34" charset="0"/>
              </a:rPr>
              <a:t>tt jämföra befintliga arbetssätt med vårdförloppet. Föreslå förändrade arbetssätt och lämpliga mått och indikatorer för att följa utvecklingen inom området.</a:t>
            </a:r>
            <a:endParaRPr lang="sv-SE" sz="2000" dirty="0">
              <a:latin typeface="+mn-lt"/>
            </a:endParaRPr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2118F962-90D4-4E45-8F69-DF5E7006F8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rbetsgrupp centralt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E80311BB-B2FB-1C66-0FE2-61C173F883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8CCFDF-DFA5-484F-9FF8-7212AEA69C48}" type="slidenum">
              <a:rPr lang="sv-SE" smtClean="0"/>
              <a:pPr/>
              <a:t>6</a:t>
            </a:fld>
            <a:endParaRPr lang="sv-SE" dirty="0"/>
          </a:p>
        </p:txBody>
      </p:sp>
      <p:pic>
        <p:nvPicPr>
          <p:cNvPr id="6" name="Bildobjekt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7673" y="199589"/>
            <a:ext cx="7788177" cy="579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5243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ABFB6CF9-2D31-F851-05BC-A8215B6E76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sv-SE" dirty="0"/>
              <a:t>Lokalt arbete i väster</a:t>
            </a:r>
          </a:p>
          <a:p>
            <a:endParaRPr lang="sv-SE" sz="900" dirty="0"/>
          </a:p>
          <a:p>
            <a:r>
              <a:rPr lang="sv-SE" dirty="0"/>
              <a:t>Arbetsgrupp</a:t>
            </a:r>
          </a:p>
          <a:p>
            <a:pPr lvl="1"/>
            <a:r>
              <a:rPr lang="sv-SE" dirty="0"/>
              <a:t>Maria Kling, Motala kommun (sammankallande)</a:t>
            </a:r>
          </a:p>
          <a:p>
            <a:pPr lvl="1"/>
            <a:r>
              <a:rPr lang="sv-SE" dirty="0"/>
              <a:t>Tommy Hallén, Boxholms kommun</a:t>
            </a:r>
          </a:p>
          <a:p>
            <a:pPr lvl="1"/>
            <a:r>
              <a:rPr lang="sv-SE" dirty="0"/>
              <a:t>Tove Hultberg, Minnesmottagningen </a:t>
            </a:r>
            <a:r>
              <a:rPr lang="sv-SE" dirty="0" err="1"/>
              <a:t>LiM</a:t>
            </a:r>
            <a:endParaRPr lang="sv-SE" dirty="0"/>
          </a:p>
          <a:p>
            <a:pPr lvl="1"/>
            <a:r>
              <a:rPr lang="sv-SE" dirty="0"/>
              <a:t>Elinor </a:t>
            </a:r>
            <a:r>
              <a:rPr lang="sv-SE" dirty="0" err="1"/>
              <a:t>Strickert</a:t>
            </a:r>
            <a:r>
              <a:rPr lang="sv-SE" dirty="0"/>
              <a:t>, Motala kommun</a:t>
            </a:r>
          </a:p>
          <a:p>
            <a:pPr lvl="1"/>
            <a:r>
              <a:rPr lang="sv-SE" dirty="0"/>
              <a:t>Jaana </a:t>
            </a:r>
            <a:r>
              <a:rPr lang="sv-SE" dirty="0" err="1"/>
              <a:t>Kuoppakangas</a:t>
            </a:r>
            <a:r>
              <a:rPr lang="sv-SE" dirty="0"/>
              <a:t>, Motala kommun</a:t>
            </a:r>
          </a:p>
          <a:p>
            <a:pPr lvl="1"/>
            <a:r>
              <a:rPr lang="sv-SE" dirty="0"/>
              <a:t>Anna Bodén, Mjölby kommun</a:t>
            </a:r>
          </a:p>
          <a:p>
            <a:pPr lvl="1"/>
            <a:r>
              <a:rPr lang="sv-SE" dirty="0"/>
              <a:t>Thomas Gylfe, Vc Mjölby</a:t>
            </a:r>
          </a:p>
          <a:p>
            <a:pPr lvl="1"/>
            <a:endParaRPr lang="sv-SE" dirty="0"/>
          </a:p>
          <a:p>
            <a:endParaRPr lang="sv-SE" dirty="0"/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C3379A62-A8F1-31BF-CF54-FDF1E4DA12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Certifiering av utredningar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437EB3D-D086-D315-05CD-6B8EDC5609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8CCFDF-DFA5-484F-9FF8-7212AEA69C48}" type="slidenum">
              <a:rPr lang="sv-SE" smtClean="0"/>
              <a:pPr/>
              <a:t>7</a:t>
            </a:fld>
            <a:endParaRPr lang="sv-SE" dirty="0"/>
          </a:p>
        </p:txBody>
      </p:sp>
      <p:pic>
        <p:nvPicPr>
          <p:cNvPr id="6" name="Bildobjekt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5382" y="199589"/>
            <a:ext cx="7760468" cy="577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93314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382879" y="524414"/>
            <a:ext cx="7452202" cy="1265447"/>
          </a:xfrm>
        </p:spPr>
        <p:txBody>
          <a:bodyPr>
            <a:normAutofit fontScale="90000"/>
          </a:bodyPr>
          <a:lstStyle/>
          <a:p>
            <a:r>
              <a:rPr lang="sv-SE" b="1" dirty="0"/>
              <a:t>Erfarenheter från certifiering SÄBO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57200" y="2310714"/>
            <a:ext cx="8229600" cy="421463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sv-SE" dirty="0"/>
              <a:t>Start 2016 </a:t>
            </a:r>
          </a:p>
          <a:p>
            <a:pPr marL="0" indent="0">
              <a:buNone/>
            </a:pPr>
            <a:r>
              <a:rPr lang="sv-SE" dirty="0"/>
              <a:t>Certifieringen utvecklas gemensamt årligen</a:t>
            </a:r>
          </a:p>
          <a:p>
            <a:pPr marL="0" indent="0">
              <a:buNone/>
            </a:pPr>
            <a:r>
              <a:rPr lang="sv-SE" dirty="0"/>
              <a:t> </a:t>
            </a:r>
          </a:p>
          <a:p>
            <a:pPr marL="0" indent="0">
              <a:buNone/>
            </a:pPr>
            <a:r>
              <a:rPr lang="sv-SE" dirty="0"/>
              <a:t>Resultat:</a:t>
            </a:r>
          </a:p>
          <a:p>
            <a:r>
              <a:rPr lang="sv-SE" dirty="0"/>
              <a:t>Ökat kvaliteten för vård och omsorg</a:t>
            </a:r>
          </a:p>
          <a:p>
            <a:r>
              <a:rPr lang="sv-SE" dirty="0"/>
              <a:t>Ökad kompetens för personal</a:t>
            </a:r>
          </a:p>
          <a:p>
            <a:r>
              <a:rPr lang="sv-SE" dirty="0"/>
              <a:t>Ökad personcentrerad vård</a:t>
            </a:r>
          </a:p>
          <a:p>
            <a:r>
              <a:rPr lang="sv-SE" dirty="0"/>
              <a:t>Ökade registeringar i </a:t>
            </a:r>
            <a:r>
              <a:rPr lang="sv-SE" dirty="0" err="1"/>
              <a:t>SveDems</a:t>
            </a:r>
            <a:r>
              <a:rPr lang="sv-SE" dirty="0"/>
              <a:t> SÄBO-modul</a:t>
            </a:r>
          </a:p>
          <a:p>
            <a:r>
              <a:rPr lang="sv-SE" dirty="0"/>
              <a:t>Pågående förbättringsarbeten </a:t>
            </a:r>
          </a:p>
        </p:txBody>
      </p:sp>
      <p:pic>
        <p:nvPicPr>
          <p:cNvPr id="5" name="Bildobjekt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1783" y="79516"/>
            <a:ext cx="7233995" cy="594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4866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8C6730C8-F39D-B067-9A7B-C2CC449624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/>
              <a:t>Start 1 januari 2023</a:t>
            </a:r>
          </a:p>
          <a:p>
            <a:endParaRPr lang="sv-SE" sz="1000" dirty="0"/>
          </a:p>
          <a:p>
            <a:r>
              <a:rPr lang="sv-SE" dirty="0"/>
              <a:t>Första året görs en </a:t>
            </a:r>
            <a:r>
              <a:rPr lang="sv-SE" dirty="0" err="1"/>
              <a:t>baseline</a:t>
            </a:r>
            <a:r>
              <a:rPr lang="sv-SE" dirty="0"/>
              <a:t>-mätning</a:t>
            </a:r>
          </a:p>
          <a:p>
            <a:endParaRPr lang="sv-SE" sz="1000" dirty="0"/>
          </a:p>
          <a:p>
            <a:r>
              <a:rPr lang="sv-SE" dirty="0"/>
              <a:t>Från och med 2024 årlig uppföljning och utdelning av diplom</a:t>
            </a:r>
          </a:p>
          <a:p>
            <a:endParaRPr lang="sv-SE" sz="1000" dirty="0"/>
          </a:p>
          <a:p>
            <a:r>
              <a:rPr lang="sv-SE" dirty="0"/>
              <a:t>Målnivåer tas fram genom gemensamma</a:t>
            </a:r>
            <a:r>
              <a:rPr lang="sv-SE" baseline="0" dirty="0"/>
              <a:t> diskussioner och med syfte att nå upp till målnivåerna i Nationella riktlinjer</a:t>
            </a:r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E35EBFA5-0BF5-C681-EDE8-43C72AF5AF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Plan för arbetet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2111A70-D3C9-E773-A379-EAB37E481B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D8CCFDF-DFA5-484F-9FF8-7212AEA69C48}" type="slidenum">
              <a:rPr lang="sv-SE" smtClean="0"/>
              <a:pPr/>
              <a:t>9</a:t>
            </a:fld>
            <a:endParaRPr lang="sv-SE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AB4A12F3-C89E-FC28-1E8C-511BC4FA0A5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5690" b="25768"/>
          <a:stretch/>
        </p:blipFill>
        <p:spPr>
          <a:xfrm>
            <a:off x="4891726" y="6197895"/>
            <a:ext cx="1844679" cy="468608"/>
          </a:xfrm>
          <a:prstGeom prst="rect">
            <a:avLst/>
          </a:prstGeom>
        </p:spPr>
      </p:pic>
      <p:pic>
        <p:nvPicPr>
          <p:cNvPr id="6" name="Bildobjekt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9200" y="107620"/>
            <a:ext cx="7628556" cy="567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8124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TgJhFrNbr7.Xbsbn_9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s3J6VVptlatHuCQ2_WWQ"/>
</p:tagLst>
</file>

<file path=ppt/theme/theme1.xml><?xml version="1.0" encoding="utf-8"?>
<a:theme xmlns:a="http://schemas.openxmlformats.org/drawingml/2006/main" name="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Reg Ost">
      <a:majorFont>
        <a:latin typeface="Georgi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årdförlopp presentation mall" id="{D6D87600-4664-4D8D-AFA0-A72CB7C11140}" vid="{9226E296-3A06-4CC4-8B97-86EDD3B06295}"/>
    </a:ext>
  </a:extLst>
</a:theme>
</file>

<file path=ppt/theme/theme3.xml><?xml version="1.0" encoding="utf-8"?>
<a:theme xmlns:a="http://schemas.openxmlformats.org/drawingml/2006/main" name="1_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22</TotalTime>
  <Words>917</Words>
  <Application>Microsoft Office PowerPoint</Application>
  <PresentationFormat>Bildspel på skärmen (4:3)</PresentationFormat>
  <Paragraphs>202</Paragraphs>
  <Slides>17</Slides>
  <Notes>2</Notes>
  <HiddenSlides>0</HiddenSlides>
  <MMClips>0</MMClips>
  <ScaleCrop>false</ScaleCrop>
  <HeadingPairs>
    <vt:vector size="8" baseType="variant">
      <vt:variant>
        <vt:lpstr>Använt teckensnitt</vt:lpstr>
      </vt:variant>
      <vt:variant>
        <vt:i4>7</vt:i4>
      </vt:variant>
      <vt:variant>
        <vt:lpstr>Tema</vt:lpstr>
      </vt:variant>
      <vt:variant>
        <vt:i4>3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7</vt:i4>
      </vt:variant>
    </vt:vector>
  </HeadingPairs>
  <TitlesOfParts>
    <vt:vector size="28" baseType="lpstr">
      <vt:lpstr>Arial</vt:lpstr>
      <vt:lpstr>Arial Unicode MS</vt:lpstr>
      <vt:lpstr>Calibri</vt:lpstr>
      <vt:lpstr>Calibri Light</vt:lpstr>
      <vt:lpstr>Georgia</vt:lpstr>
      <vt:lpstr>Tahoma</vt:lpstr>
      <vt:lpstr>Times New Roman</vt:lpstr>
      <vt:lpstr>blank</vt:lpstr>
      <vt:lpstr>Tema_sveriges_regioner_i_samverkan</vt:lpstr>
      <vt:lpstr>1_Office-tema</vt:lpstr>
      <vt:lpstr>think-cell Slide</vt:lpstr>
      <vt:lpstr>PowerPoint-presentation</vt:lpstr>
      <vt:lpstr>Bakgrund</vt:lpstr>
      <vt:lpstr>Personcentrerat och sammanhållet vårdförlopp  för kognitiv svikt vid misstänkt demenssjukdom</vt:lpstr>
      <vt:lpstr>          Vad kommer att följas upp (urval)</vt:lpstr>
      <vt:lpstr>PowerPoint-presentation</vt:lpstr>
      <vt:lpstr>Arbetsgrupp centralt</vt:lpstr>
      <vt:lpstr>Certifiering av utredningar</vt:lpstr>
      <vt:lpstr>Erfarenheter från certifiering SÄBO</vt:lpstr>
      <vt:lpstr>Plan för arbetet</vt:lpstr>
      <vt:lpstr>PowerPoint-presentation</vt:lpstr>
      <vt:lpstr>Genomförda / Pågående aktiviteter</vt:lpstr>
      <vt:lpstr>Rutin återkoppling</vt:lpstr>
      <vt:lpstr>PowerPoint-presentation</vt:lpstr>
      <vt:lpstr>MCI-registrering</vt:lpstr>
      <vt:lpstr>MCI-registrering</vt:lpstr>
      <vt:lpstr>MCI-registrering</vt:lpstr>
      <vt:lpstr>3  Månaders uppföljning</vt:lpstr>
    </vt:vector>
  </TitlesOfParts>
  <Company>Region Östergötlan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Gylfe Thomas</dc:creator>
  <cp:lastModifiedBy>Hultberg Tove</cp:lastModifiedBy>
  <cp:revision>18</cp:revision>
  <dcterms:created xsi:type="dcterms:W3CDTF">2023-01-25T18:33:52Z</dcterms:created>
  <dcterms:modified xsi:type="dcterms:W3CDTF">2023-04-27T09:51:40Z</dcterms:modified>
</cp:coreProperties>
</file>